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mp" ContentType="image/png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5"/>
  </p:notesMasterIdLst>
  <p:sldIdLst>
    <p:sldId id="257" r:id="rId2"/>
    <p:sldId id="267" r:id="rId3"/>
    <p:sldId id="258" r:id="rId4"/>
    <p:sldId id="525" r:id="rId5"/>
    <p:sldId id="274" r:id="rId6"/>
    <p:sldId id="526" r:id="rId7"/>
    <p:sldId id="531" r:id="rId8"/>
    <p:sldId id="261" r:id="rId9"/>
    <p:sldId id="530" r:id="rId10"/>
    <p:sldId id="262" r:id="rId11"/>
    <p:sldId id="532" r:id="rId12"/>
    <p:sldId id="539" r:id="rId13"/>
    <p:sldId id="265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213" autoAdjust="0"/>
    <p:restoredTop sz="94660"/>
  </p:normalViewPr>
  <p:slideViewPr>
    <p:cSldViewPr snapToGrid="0">
      <p:cViewPr varScale="1">
        <p:scale>
          <a:sx n="104" d="100"/>
          <a:sy n="104" d="100"/>
        </p:scale>
        <p:origin x="972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440619-DF4D-49DE-A883-BF8C8CAD3378}" type="datetimeFigureOut">
              <a:rPr lang="en-US" smtClean="0"/>
              <a:t>12/2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633BE6D-8B83-481A-A12A-E3CEB4F7D5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8272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1097D6-6662-454F-88D1-007F20C88A0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14606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1097D6-6662-454F-88D1-007F20C88A0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16043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1097D6-6662-454F-88D1-007F20C88A0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49495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+mj-lt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1097D6-6662-454F-88D1-007F20C88A0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24106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+mj-lt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1097D6-6662-454F-88D1-007F20C88A0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55646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+mj-lt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1097D6-6662-454F-88D1-007F20C88A0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5860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1097D6-6662-454F-88D1-007F20C88A0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64650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emf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28600"/>
            <a:ext cx="12192000" cy="1143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657600"/>
            <a:ext cx="8534400" cy="19812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3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67161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3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67646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3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7906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, Text and Pict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82350" y="1629986"/>
            <a:ext cx="5505756" cy="1430520"/>
          </a:xfrm>
        </p:spPr>
        <p:txBody>
          <a:bodyPr wrap="square">
            <a:spAutoFit/>
          </a:bodyPr>
          <a:lstStyle>
            <a:lvl1pPr>
              <a:defRPr sz="1499" b="0">
                <a:solidFill>
                  <a:schemeClr val="tx1"/>
                </a:solidFill>
              </a:defRPr>
            </a:lvl1pPr>
            <a:lvl2pPr>
              <a:defRPr sz="1499"/>
            </a:lvl2pPr>
            <a:lvl3pPr>
              <a:defRPr sz="1499"/>
            </a:lvl3pPr>
            <a:lvl4pPr>
              <a:defRPr sz="1499"/>
            </a:lvl4pPr>
            <a:lvl5pPr>
              <a:defRPr sz="1499"/>
            </a:lvl5pPr>
          </a:lstStyle>
          <a:p>
            <a:pPr lvl="0"/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130908" y="1629987"/>
            <a:ext cx="5505757" cy="4677279"/>
          </a:xfrm>
        </p:spPr>
        <p:txBody>
          <a:bodyPr/>
          <a:lstStyle>
            <a:lvl1pPr>
              <a:defRPr sz="1499"/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82350" y="6634559"/>
            <a:ext cx="5505757" cy="115416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750" dirty="0" smtClean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Footnote | Source | Disclaimer, Calibri ,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7" name="Abgerundetes Rechteck 42"/>
          <p:cNvSpPr/>
          <p:nvPr userDrawn="1"/>
        </p:nvSpPr>
        <p:spPr>
          <a:xfrm>
            <a:off x="12642623" y="6102341"/>
            <a:ext cx="1864485" cy="634853"/>
          </a:xfrm>
          <a:prstGeom prst="roundRect">
            <a:avLst>
              <a:gd name="adj" fmla="val 0"/>
            </a:avLst>
          </a:prstGeom>
          <a:solidFill>
            <a:srgbClr val="A6A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26986" rIns="53972" bIns="53972" rtlCol="0" anchor="ctr"/>
          <a:lstStyle/>
          <a:p>
            <a:r>
              <a:rPr lang="en-US" sz="825" b="1" dirty="0">
                <a:solidFill>
                  <a:srgbClr val="2D1E1C"/>
                </a:solidFill>
              </a:rPr>
              <a:t>For changing images, please delete them and </a:t>
            </a:r>
            <a:r>
              <a:rPr lang="en-US" sz="825" b="1" dirty="0">
                <a:solidFill>
                  <a:prstClr val="white"/>
                </a:solidFill>
              </a:rPr>
              <a:t>insert a new one over click insert icon</a:t>
            </a:r>
            <a:endParaRPr lang="en-US" sz="825" dirty="0">
              <a:solidFill>
                <a:prstClr val="white"/>
              </a:solidFill>
            </a:endParaRPr>
          </a:p>
        </p:txBody>
      </p:sp>
      <p:grpSp>
        <p:nvGrpSpPr>
          <p:cNvPr id="12" name="Gruppieren 2"/>
          <p:cNvGrpSpPr/>
          <p:nvPr userDrawn="1"/>
        </p:nvGrpSpPr>
        <p:grpSpPr>
          <a:xfrm>
            <a:off x="12642623" y="2"/>
            <a:ext cx="1864485" cy="5980315"/>
            <a:chOff x="12649206" y="1"/>
            <a:chExt cx="1865457" cy="5981700"/>
          </a:xfrm>
        </p:grpSpPr>
        <p:sp>
          <p:nvSpPr>
            <p:cNvPr id="14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33279" lvl="1" indent="-133279">
                <a:spcBef>
                  <a:spcPts val="45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825" dirty="0">
                  <a:solidFill>
                    <a:prstClr val="white"/>
                  </a:solidFill>
                </a:rPr>
                <a:t>To ensure a clean and </a:t>
              </a:r>
              <a:br>
                <a:rPr lang="en-US" sz="825" dirty="0">
                  <a:solidFill>
                    <a:prstClr val="white"/>
                  </a:solidFill>
                </a:rPr>
              </a:br>
              <a:r>
                <a:rPr lang="en-US" sz="825" dirty="0">
                  <a:solidFill>
                    <a:prstClr val="white"/>
                  </a:solidFill>
                </a:rPr>
                <a:t>swift workflow with </a:t>
              </a:r>
              <a:r>
                <a:rPr lang="en-US" sz="825" b="1" dirty="0">
                  <a:solidFill>
                    <a:prstClr val="black"/>
                  </a:solidFill>
                </a:rPr>
                <a:t>bullet points</a:t>
              </a:r>
              <a:r>
                <a:rPr lang="en-US" sz="825" dirty="0">
                  <a:solidFill>
                    <a:prstClr val="white"/>
                  </a:solidFill>
                </a:rPr>
                <a:t>, please use the </a:t>
              </a:r>
              <a:br>
                <a:rPr lang="en-US" sz="825" dirty="0">
                  <a:solidFill>
                    <a:prstClr val="white"/>
                  </a:solidFill>
                </a:rPr>
              </a:br>
              <a:r>
                <a:rPr lang="en-US" sz="825" dirty="0">
                  <a:solidFill>
                    <a:prstClr val="white"/>
                  </a:solidFill>
                </a:rPr>
                <a:t>PRE-SET PLACEHOLDERS or FORMATTED TEXTBOXES</a:t>
              </a:r>
              <a:r>
                <a:rPr lang="en-US" sz="825" b="1" dirty="0">
                  <a:solidFill>
                    <a:prstClr val="white"/>
                  </a:solidFill>
                </a:rPr>
                <a:t>  </a:t>
              </a:r>
              <a:r>
                <a:rPr lang="en-US" sz="825" dirty="0">
                  <a:solidFill>
                    <a:prstClr val="white"/>
                  </a:solidFill>
                </a:rPr>
                <a:t>– do not use “normal” textboxes that have been added via the steps </a:t>
              </a:r>
              <a:br>
                <a:rPr lang="en-US" sz="825" dirty="0">
                  <a:solidFill>
                    <a:prstClr val="white"/>
                  </a:solidFill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 add  textbox. 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These textboxes cannot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33279" lvl="1" indent="-133279">
                <a:spcBef>
                  <a:spcPts val="45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825" b="1" dirty="0">
                  <a:solidFill>
                    <a:prstClr val="black"/>
                  </a:solidFill>
                  <a:sym typeface="Wingdings" panose="05000000000000000000" pitchFamily="2" charset="2"/>
                </a:rPr>
                <a:t>AUTOMATIC INDENTATIONS </a:t>
              </a: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IN PLACEHOLDERS are only 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the list level                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</a:rPr>
                <a:t>(or Shift + Alt + </a:t>
              </a: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</a:t>
              </a:r>
              <a:r>
                <a:rPr lang="en-US" sz="825" dirty="0">
                  <a:solidFill>
                    <a:prstClr val="white"/>
                  </a:solidFill>
                </a:rPr>
                <a:t> / </a:t>
              </a: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</a:t>
              </a:r>
              <a:r>
                <a:rPr lang="en-US" sz="825" dirty="0">
                  <a:solidFill>
                    <a:prstClr val="white"/>
                  </a:solidFill>
                </a:rPr>
                <a:t>)</a:t>
              </a:r>
            </a:p>
            <a:p>
              <a:pPr marL="133279" lvl="1" indent="-133279">
                <a:spcBef>
                  <a:spcPts val="45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825" b="1" dirty="0">
                  <a:solidFill>
                    <a:prstClr val="black"/>
                  </a:solidFill>
                </a:rPr>
                <a:t>Formatted textboxes/ placeholders </a:t>
              </a:r>
              <a:r>
                <a:rPr lang="en-US" sz="825" dirty="0">
                  <a:solidFill>
                    <a:prstClr val="white"/>
                  </a:solidFill>
                </a:rPr>
                <a:t>are available in the template – just make a copy OR: generate a new placeholder by following these steps </a:t>
              </a:r>
              <a:br>
                <a:rPr lang="en-US" sz="825" dirty="0">
                  <a:solidFill>
                    <a:prstClr val="white"/>
                  </a:solidFill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 Start  new slide</a:t>
              </a:r>
              <a:b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 choose layout </a:t>
              </a:r>
              <a:b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"Content Slide"</a:t>
              </a:r>
            </a:p>
            <a:p>
              <a:pPr marL="133279" lvl="1" indent="-133279">
                <a:spcBef>
                  <a:spcPts val="45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Placeholders can be</a:t>
              </a:r>
              <a:b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filled and then copied. </a:t>
              </a:r>
              <a:b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The copied placeholder will keep its formatting </a:t>
              </a:r>
              <a:endParaRPr lang="en-US" sz="825" dirty="0">
                <a:solidFill>
                  <a:prstClr val="white"/>
                </a:solidFill>
              </a:endParaRPr>
            </a:p>
          </p:txBody>
        </p:sp>
        <p:grpSp>
          <p:nvGrpSpPr>
            <p:cNvPr id="15" name="Gruppieren 11"/>
            <p:cNvGrpSpPr/>
            <p:nvPr userDrawn="1">
              <p:custDataLst>
                <p:tags r:id="rId2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16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750" dirty="0">
                  <a:solidFill>
                    <a:prstClr val="black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22" name="Picture 20"/>
              <p:cNvPicPr>
                <a:picLocks noChangeAspect="1" noChangeArrowheads="1"/>
              </p:cNvPicPr>
              <p:nvPr/>
            </p:nvPicPr>
            <p:blipFill rotWithShape="1"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32238746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duction/Table of conten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6" name="Rechteck 215"/>
          <p:cNvSpPr/>
          <p:nvPr userDrawn="1"/>
        </p:nvSpPr>
        <p:spPr>
          <a:xfrm>
            <a:off x="0" y="1"/>
            <a:ext cx="12192000" cy="6307265"/>
          </a:xfrm>
          <a:prstGeom prst="rect">
            <a:avLst/>
          </a:prstGeom>
          <a:solidFill>
            <a:srgbClr val="FDDD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49" dirty="0">
              <a:solidFill>
                <a:prstClr val="white"/>
              </a:solidFill>
            </a:endParaRP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7324" y="756946"/>
            <a:ext cx="5594609" cy="5557020"/>
          </a:xfrm>
          <a:prstGeom prst="rect">
            <a:avLst/>
          </a:prstGeom>
        </p:spPr>
      </p:pic>
      <p:sp>
        <p:nvSpPr>
          <p:cNvPr id="7" name="Textplatzhalter 6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82348" y="1628716"/>
            <a:ext cx="5648559" cy="1520416"/>
          </a:xfrm>
        </p:spPr>
        <p:txBody>
          <a:bodyPr>
            <a:spAutoFit/>
          </a:bodyPr>
          <a:lstStyle>
            <a:lvl1pPr marL="199918" indent="-199918"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4232795" algn="r"/>
              </a:tabLst>
              <a:defRPr b="0">
                <a:solidFill>
                  <a:schemeClr val="tx1"/>
                </a:solidFill>
              </a:defRPr>
            </a:lvl1pPr>
            <a:lvl3pPr>
              <a:tabLst>
                <a:tab pos="4232795" algn="r"/>
              </a:tabLst>
              <a:defRPr baseline="0"/>
            </a:lvl3pPr>
          </a:lstStyle>
          <a:p>
            <a:pPr lvl="0"/>
            <a:r>
              <a:rPr lang="en-US" dirty="0"/>
              <a:t>Click to add chapter title, [Tab] 	page #</a:t>
            </a:r>
          </a:p>
          <a:p>
            <a:pPr lvl="2"/>
            <a:r>
              <a:rPr lang="en-US" dirty="0"/>
              <a:t>Second level</a:t>
            </a:r>
          </a:p>
        </p:txBody>
      </p:sp>
      <p:grpSp>
        <p:nvGrpSpPr>
          <p:cNvPr id="4" name="Gruppieren 3"/>
          <p:cNvGrpSpPr/>
          <p:nvPr userDrawn="1"/>
        </p:nvGrpSpPr>
        <p:grpSpPr bwMode="gray">
          <a:xfrm>
            <a:off x="702" y="797"/>
            <a:ext cx="12191300" cy="1623593"/>
            <a:chOff x="701" y="796"/>
            <a:chExt cx="12197649" cy="1623969"/>
          </a:xfrm>
        </p:grpSpPr>
        <p:sp>
          <p:nvSpPr>
            <p:cNvPr id="249" name="Freeform 11"/>
            <p:cNvSpPr>
              <a:spLocks/>
            </p:cNvSpPr>
            <p:nvPr userDrawn="1"/>
          </p:nvSpPr>
          <p:spPr bwMode="gray">
            <a:xfrm>
              <a:off x="701" y="796"/>
              <a:ext cx="12197649" cy="1623969"/>
            </a:xfrm>
            <a:custGeom>
              <a:avLst/>
              <a:gdLst/>
              <a:ahLst/>
              <a:cxnLst/>
              <a:rect l="l" t="t" r="r" b="b"/>
              <a:pathLst>
                <a:path w="12197649" h="1623969">
                  <a:moveTo>
                    <a:pt x="12197649" y="0"/>
                  </a:moveTo>
                  <a:lnTo>
                    <a:pt x="12197649" y="1150279"/>
                  </a:lnTo>
                  <a:cubicBezTo>
                    <a:pt x="9786709" y="1161191"/>
                    <a:pt x="4153741" y="1246138"/>
                    <a:pt x="0" y="1623969"/>
                  </a:cubicBezTo>
                  <a:lnTo>
                    <a:pt x="0" y="237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49" dirty="0">
                <a:solidFill>
                  <a:srgbClr val="5F5656"/>
                </a:solidFill>
              </a:endParaRPr>
            </a:p>
          </p:txBody>
        </p:sp>
        <p:grpSp>
          <p:nvGrpSpPr>
            <p:cNvPr id="250" name="Gruppierung 140"/>
            <p:cNvGrpSpPr>
              <a:grpSpLocks noChangeAspect="1"/>
            </p:cNvGrpSpPr>
            <p:nvPr userDrawn="1"/>
          </p:nvGrpSpPr>
          <p:grpSpPr bwMode="gray">
            <a:xfrm>
              <a:off x="10291931" y="341313"/>
              <a:ext cx="1638132" cy="385201"/>
              <a:chOff x="6613648" y="2453653"/>
              <a:chExt cx="2815390" cy="662028"/>
            </a:xfrm>
          </p:grpSpPr>
          <p:sp>
            <p:nvSpPr>
              <p:cNvPr id="251" name="Freihandform 250"/>
              <p:cNvSpPr>
                <a:spLocks noChangeAspect="1" noChangeArrowheads="1"/>
              </p:cNvSpPr>
              <p:nvPr/>
            </p:nvSpPr>
            <p:spPr bwMode="gray">
              <a:xfrm>
                <a:off x="8944950" y="2560629"/>
                <a:ext cx="484088" cy="476289"/>
              </a:xfrm>
              <a:custGeom>
                <a:avLst/>
                <a:gdLst>
                  <a:gd name="connsiteX0" fmla="*/ 224003 w 484088"/>
                  <a:gd name="connsiteY0" fmla="*/ 410646 h 476290"/>
                  <a:gd name="connsiteX1" fmla="*/ 247187 w 484088"/>
                  <a:gd name="connsiteY1" fmla="*/ 420103 h 476290"/>
                  <a:gd name="connsiteX2" fmla="*/ 247187 w 484088"/>
                  <a:gd name="connsiteY2" fmla="*/ 466833 h 476290"/>
                  <a:gd name="connsiteX3" fmla="*/ 200818 w 484088"/>
                  <a:gd name="connsiteY3" fmla="*/ 466833 h 476290"/>
                  <a:gd name="connsiteX4" fmla="*/ 200818 w 484088"/>
                  <a:gd name="connsiteY4" fmla="*/ 420103 h 476290"/>
                  <a:gd name="connsiteX5" fmla="*/ 224003 w 484088"/>
                  <a:gd name="connsiteY5" fmla="*/ 410646 h 476290"/>
                  <a:gd name="connsiteX6" fmla="*/ 121049 w 484088"/>
                  <a:gd name="connsiteY6" fmla="*/ 316301 h 476290"/>
                  <a:gd name="connsiteX7" fmla="*/ 138696 w 484088"/>
                  <a:gd name="connsiteY7" fmla="*/ 323796 h 476290"/>
                  <a:gd name="connsiteX8" fmla="*/ 138696 w 484088"/>
                  <a:gd name="connsiteY8" fmla="*/ 359325 h 476290"/>
                  <a:gd name="connsiteX9" fmla="*/ 103128 w 484088"/>
                  <a:gd name="connsiteY9" fmla="*/ 359325 h 476290"/>
                  <a:gd name="connsiteX10" fmla="*/ 103128 w 484088"/>
                  <a:gd name="connsiteY10" fmla="*/ 323796 h 476290"/>
                  <a:gd name="connsiteX11" fmla="*/ 121049 w 484088"/>
                  <a:gd name="connsiteY11" fmla="*/ 316301 h 476290"/>
                  <a:gd name="connsiteX12" fmla="*/ 325449 w 484088"/>
                  <a:gd name="connsiteY12" fmla="*/ 298284 h 476290"/>
                  <a:gd name="connsiteX13" fmla="*/ 356024 w 484088"/>
                  <a:gd name="connsiteY13" fmla="*/ 310902 h 476290"/>
                  <a:gd name="connsiteX14" fmla="*/ 356024 w 484088"/>
                  <a:gd name="connsiteY14" fmla="*/ 372214 h 476290"/>
                  <a:gd name="connsiteX15" fmla="*/ 294874 w 484088"/>
                  <a:gd name="connsiteY15" fmla="*/ 372214 h 476290"/>
                  <a:gd name="connsiteX16" fmla="*/ 294874 w 484088"/>
                  <a:gd name="connsiteY16" fmla="*/ 310902 h 476290"/>
                  <a:gd name="connsiteX17" fmla="*/ 325449 w 484088"/>
                  <a:gd name="connsiteY17" fmla="*/ 298284 h 476290"/>
                  <a:gd name="connsiteX18" fmla="*/ 19273 w 484088"/>
                  <a:gd name="connsiteY18" fmla="*/ 218685 h 476290"/>
                  <a:gd name="connsiteX19" fmla="*/ 32986 w 484088"/>
                  <a:gd name="connsiteY19" fmla="*/ 224259 h 476290"/>
                  <a:gd name="connsiteX20" fmla="*/ 32986 w 484088"/>
                  <a:gd name="connsiteY20" fmla="*/ 251759 h 476290"/>
                  <a:gd name="connsiteX21" fmla="*/ 5560 w 484088"/>
                  <a:gd name="connsiteY21" fmla="*/ 251759 h 476290"/>
                  <a:gd name="connsiteX22" fmla="*/ 5560 w 484088"/>
                  <a:gd name="connsiteY22" fmla="*/ 224259 h 476290"/>
                  <a:gd name="connsiteX23" fmla="*/ 19273 w 484088"/>
                  <a:gd name="connsiteY23" fmla="*/ 218685 h 476290"/>
                  <a:gd name="connsiteX24" fmla="*/ 224003 w 484088"/>
                  <a:gd name="connsiteY24" fmla="*/ 205318 h 476290"/>
                  <a:gd name="connsiteX25" fmla="*/ 247187 w 484088"/>
                  <a:gd name="connsiteY25" fmla="*/ 215174 h 476290"/>
                  <a:gd name="connsiteX26" fmla="*/ 247187 w 484088"/>
                  <a:gd name="connsiteY26" fmla="*/ 262482 h 476290"/>
                  <a:gd name="connsiteX27" fmla="*/ 200818 w 484088"/>
                  <a:gd name="connsiteY27" fmla="*/ 262482 h 476290"/>
                  <a:gd name="connsiteX28" fmla="*/ 200818 w 484088"/>
                  <a:gd name="connsiteY28" fmla="*/ 215174 h 476290"/>
                  <a:gd name="connsiteX29" fmla="*/ 224003 w 484088"/>
                  <a:gd name="connsiteY29" fmla="*/ 205318 h 476290"/>
                  <a:gd name="connsiteX30" fmla="*/ 428279 w 484088"/>
                  <a:gd name="connsiteY30" fmla="*/ 182871 h 476290"/>
                  <a:gd name="connsiteX31" fmla="*/ 467652 w 484088"/>
                  <a:gd name="connsiteY31" fmla="*/ 199351 h 476290"/>
                  <a:gd name="connsiteX32" fmla="*/ 467652 w 484088"/>
                  <a:gd name="connsiteY32" fmla="*/ 278307 h 476290"/>
                  <a:gd name="connsiteX33" fmla="*/ 388906 w 484088"/>
                  <a:gd name="connsiteY33" fmla="*/ 278307 h 476290"/>
                  <a:gd name="connsiteX34" fmla="*/ 388906 w 484088"/>
                  <a:gd name="connsiteY34" fmla="*/ 199351 h 476290"/>
                  <a:gd name="connsiteX35" fmla="*/ 428279 w 484088"/>
                  <a:gd name="connsiteY35" fmla="*/ 182871 h 476290"/>
                  <a:gd name="connsiteX36" fmla="*/ 121049 w 484088"/>
                  <a:gd name="connsiteY36" fmla="*/ 110842 h 476290"/>
                  <a:gd name="connsiteX37" fmla="*/ 138696 w 484088"/>
                  <a:gd name="connsiteY37" fmla="*/ 118337 h 476290"/>
                  <a:gd name="connsiteX38" fmla="*/ 138696 w 484088"/>
                  <a:gd name="connsiteY38" fmla="*/ 154236 h 476290"/>
                  <a:gd name="connsiteX39" fmla="*/ 103128 w 484088"/>
                  <a:gd name="connsiteY39" fmla="*/ 154236 h 476290"/>
                  <a:gd name="connsiteX40" fmla="*/ 103128 w 484088"/>
                  <a:gd name="connsiteY40" fmla="*/ 118337 h 476290"/>
                  <a:gd name="connsiteX41" fmla="*/ 121049 w 484088"/>
                  <a:gd name="connsiteY41" fmla="*/ 110842 h 476290"/>
                  <a:gd name="connsiteX42" fmla="*/ 325683 w 484088"/>
                  <a:gd name="connsiteY42" fmla="*/ 92919 h 476290"/>
                  <a:gd name="connsiteX43" fmla="*/ 356092 w 484088"/>
                  <a:gd name="connsiteY43" fmla="*/ 105817 h 476290"/>
                  <a:gd name="connsiteX44" fmla="*/ 356092 w 484088"/>
                  <a:gd name="connsiteY44" fmla="*/ 166756 h 476290"/>
                  <a:gd name="connsiteX45" fmla="*/ 295553 w 484088"/>
                  <a:gd name="connsiteY45" fmla="*/ 166756 h 476290"/>
                  <a:gd name="connsiteX46" fmla="*/ 295553 w 484088"/>
                  <a:gd name="connsiteY46" fmla="*/ 105817 h 476290"/>
                  <a:gd name="connsiteX47" fmla="*/ 325683 w 484088"/>
                  <a:gd name="connsiteY47" fmla="*/ 92919 h 476290"/>
                  <a:gd name="connsiteX48" fmla="*/ 224003 w 484088"/>
                  <a:gd name="connsiteY48" fmla="*/ 0 h 476290"/>
                  <a:gd name="connsiteX49" fmla="*/ 247187 w 484088"/>
                  <a:gd name="connsiteY49" fmla="*/ 9715 h 476290"/>
                  <a:gd name="connsiteX50" fmla="*/ 247187 w 484088"/>
                  <a:gd name="connsiteY50" fmla="*/ 57022 h 476290"/>
                  <a:gd name="connsiteX51" fmla="*/ 200818 w 484088"/>
                  <a:gd name="connsiteY51" fmla="*/ 57022 h 476290"/>
                  <a:gd name="connsiteX52" fmla="*/ 200818 w 484088"/>
                  <a:gd name="connsiteY52" fmla="*/ 9715 h 476290"/>
                  <a:gd name="connsiteX53" fmla="*/ 224003 w 484088"/>
                  <a:gd name="connsiteY53" fmla="*/ 0 h 476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84088" h="476290">
                    <a:moveTo>
                      <a:pt x="224003" y="410646"/>
                    </a:moveTo>
                    <a:cubicBezTo>
                      <a:pt x="232375" y="410646"/>
                      <a:pt x="240747" y="413798"/>
                      <a:pt x="247187" y="420103"/>
                    </a:cubicBezTo>
                    <a:cubicBezTo>
                      <a:pt x="260067" y="433084"/>
                      <a:pt x="260067" y="453853"/>
                      <a:pt x="247187" y="466833"/>
                    </a:cubicBezTo>
                    <a:cubicBezTo>
                      <a:pt x="234307" y="479443"/>
                      <a:pt x="213699" y="479443"/>
                      <a:pt x="200818" y="466833"/>
                    </a:cubicBezTo>
                    <a:cubicBezTo>
                      <a:pt x="188306" y="454224"/>
                      <a:pt x="188306" y="433455"/>
                      <a:pt x="200818" y="420103"/>
                    </a:cubicBezTo>
                    <a:cubicBezTo>
                      <a:pt x="207259" y="413798"/>
                      <a:pt x="215631" y="410646"/>
                      <a:pt x="224003" y="410646"/>
                    </a:cubicBezTo>
                    <a:close/>
                    <a:moveTo>
                      <a:pt x="121049" y="316301"/>
                    </a:moveTo>
                    <a:cubicBezTo>
                      <a:pt x="127512" y="316301"/>
                      <a:pt x="133929" y="318800"/>
                      <a:pt x="138696" y="323796"/>
                    </a:cubicBezTo>
                    <a:cubicBezTo>
                      <a:pt x="148597" y="333788"/>
                      <a:pt x="148597" y="349333"/>
                      <a:pt x="138696" y="359325"/>
                    </a:cubicBezTo>
                    <a:cubicBezTo>
                      <a:pt x="129162" y="369318"/>
                      <a:pt x="113028" y="369318"/>
                      <a:pt x="103128" y="359325"/>
                    </a:cubicBezTo>
                    <a:cubicBezTo>
                      <a:pt x="93227" y="349333"/>
                      <a:pt x="93227" y="333788"/>
                      <a:pt x="103128" y="323796"/>
                    </a:cubicBezTo>
                    <a:cubicBezTo>
                      <a:pt x="108078" y="318800"/>
                      <a:pt x="114587" y="316301"/>
                      <a:pt x="121049" y="316301"/>
                    </a:cubicBezTo>
                    <a:close/>
                    <a:moveTo>
                      <a:pt x="325449" y="298284"/>
                    </a:moveTo>
                    <a:cubicBezTo>
                      <a:pt x="336448" y="298284"/>
                      <a:pt x="347448" y="302490"/>
                      <a:pt x="356024" y="310902"/>
                    </a:cubicBezTo>
                    <a:cubicBezTo>
                      <a:pt x="372803" y="328099"/>
                      <a:pt x="373175" y="355016"/>
                      <a:pt x="356024" y="372214"/>
                    </a:cubicBezTo>
                    <a:cubicBezTo>
                      <a:pt x="339245" y="389037"/>
                      <a:pt x="312026" y="389037"/>
                      <a:pt x="294874" y="372214"/>
                    </a:cubicBezTo>
                    <a:cubicBezTo>
                      <a:pt x="278468" y="355016"/>
                      <a:pt x="278468" y="328099"/>
                      <a:pt x="294874" y="310902"/>
                    </a:cubicBezTo>
                    <a:cubicBezTo>
                      <a:pt x="303450" y="302490"/>
                      <a:pt x="314449" y="298284"/>
                      <a:pt x="325449" y="298284"/>
                    </a:cubicBezTo>
                    <a:close/>
                    <a:moveTo>
                      <a:pt x="19273" y="218685"/>
                    </a:moveTo>
                    <a:cubicBezTo>
                      <a:pt x="24277" y="218685"/>
                      <a:pt x="29280" y="220543"/>
                      <a:pt x="32986" y="224259"/>
                    </a:cubicBezTo>
                    <a:cubicBezTo>
                      <a:pt x="40399" y="231692"/>
                      <a:pt x="40399" y="243955"/>
                      <a:pt x="32986" y="251759"/>
                    </a:cubicBezTo>
                    <a:cubicBezTo>
                      <a:pt x="25574" y="259192"/>
                      <a:pt x="12972" y="259192"/>
                      <a:pt x="5560" y="251759"/>
                    </a:cubicBezTo>
                    <a:cubicBezTo>
                      <a:pt x="-1853" y="243955"/>
                      <a:pt x="-1853" y="231692"/>
                      <a:pt x="5560" y="224259"/>
                    </a:cubicBezTo>
                    <a:cubicBezTo>
                      <a:pt x="9266" y="220543"/>
                      <a:pt x="14270" y="218685"/>
                      <a:pt x="19273" y="218685"/>
                    </a:cubicBezTo>
                    <a:close/>
                    <a:moveTo>
                      <a:pt x="224003" y="205318"/>
                    </a:moveTo>
                    <a:cubicBezTo>
                      <a:pt x="232375" y="205318"/>
                      <a:pt x="240747" y="208604"/>
                      <a:pt x="247187" y="215174"/>
                    </a:cubicBezTo>
                    <a:cubicBezTo>
                      <a:pt x="260067" y="228315"/>
                      <a:pt x="260067" y="249341"/>
                      <a:pt x="247187" y="262482"/>
                    </a:cubicBezTo>
                    <a:cubicBezTo>
                      <a:pt x="234307" y="275624"/>
                      <a:pt x="213699" y="275624"/>
                      <a:pt x="200818" y="262482"/>
                    </a:cubicBezTo>
                    <a:cubicBezTo>
                      <a:pt x="188306" y="249341"/>
                      <a:pt x="188306" y="228315"/>
                      <a:pt x="200818" y="215174"/>
                    </a:cubicBezTo>
                    <a:cubicBezTo>
                      <a:pt x="207259" y="208604"/>
                      <a:pt x="215631" y="205318"/>
                      <a:pt x="224003" y="205318"/>
                    </a:cubicBezTo>
                    <a:close/>
                    <a:moveTo>
                      <a:pt x="428279" y="182871"/>
                    </a:moveTo>
                    <a:cubicBezTo>
                      <a:pt x="442487" y="182871"/>
                      <a:pt x="456694" y="188365"/>
                      <a:pt x="467652" y="199351"/>
                    </a:cubicBezTo>
                    <a:cubicBezTo>
                      <a:pt x="489567" y="221325"/>
                      <a:pt x="489567" y="256334"/>
                      <a:pt x="467652" y="278307"/>
                    </a:cubicBezTo>
                    <a:cubicBezTo>
                      <a:pt x="445737" y="300281"/>
                      <a:pt x="410821" y="300281"/>
                      <a:pt x="388906" y="278307"/>
                    </a:cubicBezTo>
                    <a:cubicBezTo>
                      <a:pt x="366991" y="256706"/>
                      <a:pt x="366991" y="221325"/>
                      <a:pt x="388906" y="199351"/>
                    </a:cubicBezTo>
                    <a:cubicBezTo>
                      <a:pt x="399864" y="188365"/>
                      <a:pt x="414071" y="182871"/>
                      <a:pt x="428279" y="182871"/>
                    </a:cubicBezTo>
                    <a:close/>
                    <a:moveTo>
                      <a:pt x="121049" y="110842"/>
                    </a:moveTo>
                    <a:cubicBezTo>
                      <a:pt x="127512" y="110842"/>
                      <a:pt x="133929" y="113340"/>
                      <a:pt x="138696" y="118337"/>
                    </a:cubicBezTo>
                    <a:cubicBezTo>
                      <a:pt x="148597" y="128329"/>
                      <a:pt x="148597" y="144244"/>
                      <a:pt x="138696" y="154236"/>
                    </a:cubicBezTo>
                    <a:cubicBezTo>
                      <a:pt x="129162" y="163859"/>
                      <a:pt x="113028" y="163859"/>
                      <a:pt x="103128" y="154236"/>
                    </a:cubicBezTo>
                    <a:cubicBezTo>
                      <a:pt x="93227" y="144244"/>
                      <a:pt x="93227" y="128329"/>
                      <a:pt x="103128" y="118337"/>
                    </a:cubicBezTo>
                    <a:cubicBezTo>
                      <a:pt x="108078" y="113340"/>
                      <a:pt x="114587" y="110842"/>
                      <a:pt x="121049" y="110842"/>
                    </a:cubicBezTo>
                    <a:close/>
                    <a:moveTo>
                      <a:pt x="325683" y="92919"/>
                    </a:moveTo>
                    <a:cubicBezTo>
                      <a:pt x="336593" y="92919"/>
                      <a:pt x="347550" y="97219"/>
                      <a:pt x="356092" y="105817"/>
                    </a:cubicBezTo>
                    <a:cubicBezTo>
                      <a:pt x="373177" y="122641"/>
                      <a:pt x="373177" y="149558"/>
                      <a:pt x="356092" y="166756"/>
                    </a:cubicBezTo>
                    <a:cubicBezTo>
                      <a:pt x="339007" y="183579"/>
                      <a:pt x="312638" y="183579"/>
                      <a:pt x="295553" y="166756"/>
                    </a:cubicBezTo>
                    <a:cubicBezTo>
                      <a:pt x="278840" y="149558"/>
                      <a:pt x="278468" y="122641"/>
                      <a:pt x="295553" y="105817"/>
                    </a:cubicBezTo>
                    <a:cubicBezTo>
                      <a:pt x="303910" y="97219"/>
                      <a:pt x="314773" y="92919"/>
                      <a:pt x="325683" y="92919"/>
                    </a:cubicBezTo>
                    <a:close/>
                    <a:moveTo>
                      <a:pt x="224003" y="0"/>
                    </a:moveTo>
                    <a:cubicBezTo>
                      <a:pt x="232375" y="-47"/>
                      <a:pt x="240747" y="3144"/>
                      <a:pt x="247187" y="9715"/>
                    </a:cubicBezTo>
                    <a:cubicBezTo>
                      <a:pt x="260067" y="22480"/>
                      <a:pt x="260067" y="44257"/>
                      <a:pt x="247187" y="57022"/>
                    </a:cubicBezTo>
                    <a:cubicBezTo>
                      <a:pt x="234307" y="70163"/>
                      <a:pt x="213699" y="69788"/>
                      <a:pt x="200818" y="57022"/>
                    </a:cubicBezTo>
                    <a:cubicBezTo>
                      <a:pt x="188306" y="43881"/>
                      <a:pt x="188306" y="22856"/>
                      <a:pt x="200818" y="9715"/>
                    </a:cubicBezTo>
                    <a:cubicBezTo>
                      <a:pt x="207259" y="3332"/>
                      <a:pt x="215631" y="47"/>
                      <a:pt x="224003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defTabSz="816284">
                  <a:defRPr/>
                </a:pPr>
                <a:r>
                  <a:rPr lang="en-US" sz="1574" kern="0" dirty="0">
                    <a:solidFill>
                      <a:sysClr val="windowText" lastClr="000000"/>
                    </a:solidFill>
                  </a:rPr>
                  <a:t> </a:t>
                </a:r>
              </a:p>
            </p:txBody>
          </p:sp>
          <p:sp>
            <p:nvSpPr>
              <p:cNvPr id="252" name="Freihandform 251"/>
              <p:cNvSpPr>
                <a:spLocks noChangeAspect="1" noChangeArrowheads="1"/>
              </p:cNvSpPr>
              <p:nvPr/>
            </p:nvSpPr>
            <p:spPr bwMode="gray">
              <a:xfrm>
                <a:off x="7307072" y="2453653"/>
                <a:ext cx="1597948" cy="254396"/>
              </a:xfrm>
              <a:custGeom>
                <a:avLst/>
                <a:gdLst>
                  <a:gd name="connsiteX0" fmla="*/ 1157347 w 1597949"/>
                  <a:gd name="connsiteY0" fmla="*/ 4931 h 254396"/>
                  <a:gd name="connsiteX1" fmla="*/ 1235941 w 1597949"/>
                  <a:gd name="connsiteY1" fmla="*/ 4931 h 254396"/>
                  <a:gd name="connsiteX2" fmla="*/ 1319354 w 1597949"/>
                  <a:gd name="connsiteY2" fmla="*/ 168700 h 254396"/>
                  <a:gd name="connsiteX3" fmla="*/ 1319354 w 1597949"/>
                  <a:gd name="connsiteY3" fmla="*/ 4931 h 254396"/>
                  <a:gd name="connsiteX4" fmla="*/ 1366807 w 1597949"/>
                  <a:gd name="connsiteY4" fmla="*/ 4931 h 254396"/>
                  <a:gd name="connsiteX5" fmla="*/ 1366807 w 1597949"/>
                  <a:gd name="connsiteY5" fmla="*/ 249463 h 254396"/>
                  <a:gd name="connsiteX6" fmla="*/ 1291179 w 1597949"/>
                  <a:gd name="connsiteY6" fmla="*/ 249463 h 254396"/>
                  <a:gd name="connsiteX7" fmla="*/ 1205170 w 1597949"/>
                  <a:gd name="connsiteY7" fmla="*/ 83451 h 254396"/>
                  <a:gd name="connsiteX8" fmla="*/ 1205170 w 1597949"/>
                  <a:gd name="connsiteY8" fmla="*/ 249463 h 254396"/>
                  <a:gd name="connsiteX9" fmla="*/ 1157347 w 1597949"/>
                  <a:gd name="connsiteY9" fmla="*/ 249463 h 254396"/>
                  <a:gd name="connsiteX10" fmla="*/ 936042 w 1597949"/>
                  <a:gd name="connsiteY10" fmla="*/ 4931 h 254396"/>
                  <a:gd name="connsiteX11" fmla="*/ 1110117 w 1597949"/>
                  <a:gd name="connsiteY11" fmla="*/ 4931 h 254396"/>
                  <a:gd name="connsiteX12" fmla="*/ 1110117 w 1597949"/>
                  <a:gd name="connsiteY12" fmla="*/ 49052 h 254396"/>
                  <a:gd name="connsiteX13" fmla="*/ 1001367 w 1597949"/>
                  <a:gd name="connsiteY13" fmla="*/ 49052 h 254396"/>
                  <a:gd name="connsiteX14" fmla="*/ 1001367 w 1597949"/>
                  <a:gd name="connsiteY14" fmla="*/ 104015 h 254396"/>
                  <a:gd name="connsiteX15" fmla="*/ 1096013 w 1597949"/>
                  <a:gd name="connsiteY15" fmla="*/ 104015 h 254396"/>
                  <a:gd name="connsiteX16" fmla="*/ 1096013 w 1597949"/>
                  <a:gd name="connsiteY16" fmla="*/ 144771 h 254396"/>
                  <a:gd name="connsiteX17" fmla="*/ 1001367 w 1597949"/>
                  <a:gd name="connsiteY17" fmla="*/ 144771 h 254396"/>
                  <a:gd name="connsiteX18" fmla="*/ 1001367 w 1597949"/>
                  <a:gd name="connsiteY18" fmla="*/ 202725 h 254396"/>
                  <a:gd name="connsiteX19" fmla="*/ 1112716 w 1597949"/>
                  <a:gd name="connsiteY19" fmla="*/ 202725 h 254396"/>
                  <a:gd name="connsiteX20" fmla="*/ 1112716 w 1597949"/>
                  <a:gd name="connsiteY20" fmla="*/ 249463 h 254396"/>
                  <a:gd name="connsiteX21" fmla="*/ 936042 w 1597949"/>
                  <a:gd name="connsiteY21" fmla="*/ 249463 h 254396"/>
                  <a:gd name="connsiteX22" fmla="*/ 577034 w 1597949"/>
                  <a:gd name="connsiteY22" fmla="*/ 4931 h 254396"/>
                  <a:gd name="connsiteX23" fmla="*/ 665266 w 1597949"/>
                  <a:gd name="connsiteY23" fmla="*/ 4931 h 254396"/>
                  <a:gd name="connsiteX24" fmla="*/ 725949 w 1597949"/>
                  <a:gd name="connsiteY24" fmla="*/ 160843 h 254396"/>
                  <a:gd name="connsiteX25" fmla="*/ 789611 w 1597949"/>
                  <a:gd name="connsiteY25" fmla="*/ 4931 h 254396"/>
                  <a:gd name="connsiteX26" fmla="*/ 873375 w 1597949"/>
                  <a:gd name="connsiteY26" fmla="*/ 4931 h 254396"/>
                  <a:gd name="connsiteX27" fmla="*/ 873375 w 1597949"/>
                  <a:gd name="connsiteY27" fmla="*/ 248870 h 254396"/>
                  <a:gd name="connsiteX28" fmla="*/ 808225 w 1597949"/>
                  <a:gd name="connsiteY28" fmla="*/ 248870 h 254396"/>
                  <a:gd name="connsiteX29" fmla="*/ 808225 w 1597949"/>
                  <a:gd name="connsiteY29" fmla="*/ 75800 h 254396"/>
                  <a:gd name="connsiteX30" fmla="*/ 737118 w 1597949"/>
                  <a:gd name="connsiteY30" fmla="*/ 251108 h 254396"/>
                  <a:gd name="connsiteX31" fmla="*/ 694677 w 1597949"/>
                  <a:gd name="connsiteY31" fmla="*/ 251108 h 254396"/>
                  <a:gd name="connsiteX32" fmla="*/ 625059 w 1597949"/>
                  <a:gd name="connsiteY32" fmla="*/ 75800 h 254396"/>
                  <a:gd name="connsiteX33" fmla="*/ 625059 w 1597949"/>
                  <a:gd name="connsiteY33" fmla="*/ 248870 h 254396"/>
                  <a:gd name="connsiteX34" fmla="*/ 577034 w 1597949"/>
                  <a:gd name="connsiteY34" fmla="*/ 248870 h 254396"/>
                  <a:gd name="connsiteX35" fmla="*/ 355729 w 1597949"/>
                  <a:gd name="connsiteY35" fmla="*/ 4931 h 254396"/>
                  <a:gd name="connsiteX36" fmla="*/ 530170 w 1597949"/>
                  <a:gd name="connsiteY36" fmla="*/ 4931 h 254396"/>
                  <a:gd name="connsiteX37" fmla="*/ 530170 w 1597949"/>
                  <a:gd name="connsiteY37" fmla="*/ 49052 h 254396"/>
                  <a:gd name="connsiteX38" fmla="*/ 420819 w 1597949"/>
                  <a:gd name="connsiteY38" fmla="*/ 49052 h 254396"/>
                  <a:gd name="connsiteX39" fmla="*/ 420819 w 1597949"/>
                  <a:gd name="connsiteY39" fmla="*/ 104015 h 254396"/>
                  <a:gd name="connsiteX40" fmla="*/ 516036 w 1597949"/>
                  <a:gd name="connsiteY40" fmla="*/ 104015 h 254396"/>
                  <a:gd name="connsiteX41" fmla="*/ 516036 w 1597949"/>
                  <a:gd name="connsiteY41" fmla="*/ 144771 h 254396"/>
                  <a:gd name="connsiteX42" fmla="*/ 420819 w 1597949"/>
                  <a:gd name="connsiteY42" fmla="*/ 144771 h 254396"/>
                  <a:gd name="connsiteX43" fmla="*/ 420819 w 1597949"/>
                  <a:gd name="connsiteY43" fmla="*/ 202725 h 254396"/>
                  <a:gd name="connsiteX44" fmla="*/ 532402 w 1597949"/>
                  <a:gd name="connsiteY44" fmla="*/ 202725 h 254396"/>
                  <a:gd name="connsiteX45" fmla="*/ 532402 w 1597949"/>
                  <a:gd name="connsiteY45" fmla="*/ 249463 h 254396"/>
                  <a:gd name="connsiteX46" fmla="*/ 355729 w 1597949"/>
                  <a:gd name="connsiteY46" fmla="*/ 249463 h 254396"/>
                  <a:gd name="connsiteX47" fmla="*/ 226224 w 1597949"/>
                  <a:gd name="connsiteY47" fmla="*/ 4931 h 254396"/>
                  <a:gd name="connsiteX48" fmla="*/ 293068 w 1597949"/>
                  <a:gd name="connsiteY48" fmla="*/ 4931 h 254396"/>
                  <a:gd name="connsiteX49" fmla="*/ 293068 w 1597949"/>
                  <a:gd name="connsiteY49" fmla="*/ 249464 h 254396"/>
                  <a:gd name="connsiteX50" fmla="*/ 259646 w 1597949"/>
                  <a:gd name="connsiteY50" fmla="*/ 249464 h 254396"/>
                  <a:gd name="connsiteX51" fmla="*/ 226224 w 1597949"/>
                  <a:gd name="connsiteY51" fmla="*/ 249464 h 254396"/>
                  <a:gd name="connsiteX52" fmla="*/ 1509330 w 1597949"/>
                  <a:gd name="connsiteY52" fmla="*/ 0 h 254396"/>
                  <a:gd name="connsiteX53" fmla="*/ 1573106 w 1597949"/>
                  <a:gd name="connsiteY53" fmla="*/ 7806 h 254396"/>
                  <a:gd name="connsiteX54" fmla="*/ 1579039 w 1597949"/>
                  <a:gd name="connsiteY54" fmla="*/ 8921 h 254396"/>
                  <a:gd name="connsiteX55" fmla="*/ 1579039 w 1597949"/>
                  <a:gd name="connsiteY55" fmla="*/ 55011 h 254396"/>
                  <a:gd name="connsiteX56" fmla="*/ 1516004 w 1597949"/>
                  <a:gd name="connsiteY56" fmla="*/ 41630 h 254396"/>
                  <a:gd name="connsiteX57" fmla="*/ 1475217 w 1597949"/>
                  <a:gd name="connsiteY57" fmla="*/ 63932 h 254396"/>
                  <a:gd name="connsiteX58" fmla="*/ 1483745 w 1597949"/>
                  <a:gd name="connsiteY58" fmla="*/ 78056 h 254396"/>
                  <a:gd name="connsiteX59" fmla="*/ 1521195 w 1597949"/>
                  <a:gd name="connsiteY59" fmla="*/ 96641 h 254396"/>
                  <a:gd name="connsiteX60" fmla="*/ 1580522 w 1597949"/>
                  <a:gd name="connsiteY60" fmla="*/ 130837 h 254396"/>
                  <a:gd name="connsiteX61" fmla="*/ 1597949 w 1597949"/>
                  <a:gd name="connsiteY61" fmla="*/ 175812 h 254396"/>
                  <a:gd name="connsiteX62" fmla="*/ 1563466 w 1597949"/>
                  <a:gd name="connsiteY62" fmla="*/ 236027 h 254396"/>
                  <a:gd name="connsiteX63" fmla="*/ 1491532 w 1597949"/>
                  <a:gd name="connsiteY63" fmla="*/ 252753 h 254396"/>
                  <a:gd name="connsiteX64" fmla="*/ 1415890 w 1597949"/>
                  <a:gd name="connsiteY64" fmla="*/ 243833 h 254396"/>
                  <a:gd name="connsiteX65" fmla="*/ 1415890 w 1597949"/>
                  <a:gd name="connsiteY65" fmla="*/ 195884 h 254396"/>
                  <a:gd name="connsiteX66" fmla="*/ 1488565 w 1597949"/>
                  <a:gd name="connsiteY66" fmla="*/ 208893 h 254396"/>
                  <a:gd name="connsiteX67" fmla="*/ 1532319 w 1597949"/>
                  <a:gd name="connsiteY67" fmla="*/ 186220 h 254396"/>
                  <a:gd name="connsiteX68" fmla="*/ 1526386 w 1597949"/>
                  <a:gd name="connsiteY68" fmla="*/ 171724 h 254396"/>
                  <a:gd name="connsiteX69" fmla="*/ 1493015 w 1597949"/>
                  <a:gd name="connsiteY69" fmla="*/ 154254 h 254396"/>
                  <a:gd name="connsiteX70" fmla="*/ 1430351 w 1597949"/>
                  <a:gd name="connsiteY70" fmla="*/ 120430 h 254396"/>
                  <a:gd name="connsiteX71" fmla="*/ 1411440 w 1597949"/>
                  <a:gd name="connsiteY71" fmla="*/ 73596 h 254396"/>
                  <a:gd name="connsiteX72" fmla="*/ 1438879 w 1597949"/>
                  <a:gd name="connsiteY72" fmla="*/ 18957 h 254396"/>
                  <a:gd name="connsiteX73" fmla="*/ 1509330 w 1597949"/>
                  <a:gd name="connsiteY73" fmla="*/ 0 h 254396"/>
                  <a:gd name="connsiteX74" fmla="*/ 97518 w 1597949"/>
                  <a:gd name="connsiteY74" fmla="*/ 0 h 254396"/>
                  <a:gd name="connsiteX75" fmla="*/ 166857 w 1597949"/>
                  <a:gd name="connsiteY75" fmla="*/ 8966 h 254396"/>
                  <a:gd name="connsiteX76" fmla="*/ 166857 w 1597949"/>
                  <a:gd name="connsiteY76" fmla="*/ 55661 h 254396"/>
                  <a:gd name="connsiteX77" fmla="*/ 104564 w 1597949"/>
                  <a:gd name="connsiteY77" fmla="*/ 42213 h 254396"/>
                  <a:gd name="connsiteX78" fmla="*/ 64147 w 1597949"/>
                  <a:gd name="connsiteY78" fmla="*/ 64626 h 254396"/>
                  <a:gd name="connsiteX79" fmla="*/ 72675 w 1597949"/>
                  <a:gd name="connsiteY79" fmla="*/ 78448 h 254396"/>
                  <a:gd name="connsiteX80" fmla="*/ 109755 w 1597949"/>
                  <a:gd name="connsiteY80" fmla="*/ 97126 h 254396"/>
                  <a:gd name="connsiteX81" fmla="*/ 169082 w 1597949"/>
                  <a:gd name="connsiteY81" fmla="*/ 131494 h 254396"/>
                  <a:gd name="connsiteX82" fmla="*/ 186509 w 1597949"/>
                  <a:gd name="connsiteY82" fmla="*/ 176695 h 254396"/>
                  <a:gd name="connsiteX83" fmla="*/ 152025 w 1597949"/>
                  <a:gd name="connsiteY83" fmla="*/ 237212 h 254396"/>
                  <a:gd name="connsiteX84" fmla="*/ 80462 w 1597949"/>
                  <a:gd name="connsiteY84" fmla="*/ 254396 h 254396"/>
                  <a:gd name="connsiteX85" fmla="*/ 4820 w 1597949"/>
                  <a:gd name="connsiteY85" fmla="*/ 244683 h 254396"/>
                  <a:gd name="connsiteX86" fmla="*/ 4820 w 1597949"/>
                  <a:gd name="connsiteY86" fmla="*/ 196494 h 254396"/>
                  <a:gd name="connsiteX87" fmla="*/ 77496 w 1597949"/>
                  <a:gd name="connsiteY87" fmla="*/ 209568 h 254396"/>
                  <a:gd name="connsiteX88" fmla="*/ 120878 w 1597949"/>
                  <a:gd name="connsiteY88" fmla="*/ 186781 h 254396"/>
                  <a:gd name="connsiteX89" fmla="*/ 114204 w 1597949"/>
                  <a:gd name="connsiteY89" fmla="*/ 172212 h 254396"/>
                  <a:gd name="connsiteX90" fmla="*/ 81574 w 1597949"/>
                  <a:gd name="connsiteY90" fmla="*/ 154655 h 254396"/>
                  <a:gd name="connsiteX91" fmla="*/ 18910 w 1597949"/>
                  <a:gd name="connsiteY91" fmla="*/ 120661 h 254396"/>
                  <a:gd name="connsiteX92" fmla="*/ 0 w 1597949"/>
                  <a:gd name="connsiteY92" fmla="*/ 73965 h 254396"/>
                  <a:gd name="connsiteX93" fmla="*/ 27438 w 1597949"/>
                  <a:gd name="connsiteY93" fmla="*/ 19052 h 254396"/>
                  <a:gd name="connsiteX94" fmla="*/ 97518 w 1597949"/>
                  <a:gd name="connsiteY94" fmla="*/ 0 h 25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1597949" h="254396">
                    <a:moveTo>
                      <a:pt x="1157347" y="4931"/>
                    </a:moveTo>
                    <a:lnTo>
                      <a:pt x="1235941" y="4931"/>
                    </a:lnTo>
                    <a:lnTo>
                      <a:pt x="1319354" y="168700"/>
                    </a:lnTo>
                    <a:lnTo>
                      <a:pt x="1319354" y="4931"/>
                    </a:lnTo>
                    <a:lnTo>
                      <a:pt x="1366807" y="4931"/>
                    </a:lnTo>
                    <a:lnTo>
                      <a:pt x="1366807" y="249463"/>
                    </a:lnTo>
                    <a:lnTo>
                      <a:pt x="1291179" y="249463"/>
                    </a:lnTo>
                    <a:lnTo>
                      <a:pt x="1205170" y="83451"/>
                    </a:lnTo>
                    <a:lnTo>
                      <a:pt x="1205170" y="249463"/>
                    </a:lnTo>
                    <a:lnTo>
                      <a:pt x="1157347" y="249463"/>
                    </a:lnTo>
                    <a:close/>
                    <a:moveTo>
                      <a:pt x="936042" y="4931"/>
                    </a:moveTo>
                    <a:lnTo>
                      <a:pt x="1110117" y="4931"/>
                    </a:lnTo>
                    <a:lnTo>
                      <a:pt x="1110117" y="49052"/>
                    </a:lnTo>
                    <a:lnTo>
                      <a:pt x="1001367" y="49052"/>
                    </a:lnTo>
                    <a:lnTo>
                      <a:pt x="1001367" y="104015"/>
                    </a:lnTo>
                    <a:lnTo>
                      <a:pt x="1096013" y="104015"/>
                    </a:lnTo>
                    <a:lnTo>
                      <a:pt x="1096013" y="144771"/>
                    </a:lnTo>
                    <a:lnTo>
                      <a:pt x="1001367" y="144771"/>
                    </a:lnTo>
                    <a:lnTo>
                      <a:pt x="1001367" y="202725"/>
                    </a:lnTo>
                    <a:lnTo>
                      <a:pt x="1112716" y="202725"/>
                    </a:lnTo>
                    <a:lnTo>
                      <a:pt x="1112716" y="249463"/>
                    </a:lnTo>
                    <a:lnTo>
                      <a:pt x="936042" y="249463"/>
                    </a:lnTo>
                    <a:close/>
                    <a:moveTo>
                      <a:pt x="577034" y="4931"/>
                    </a:moveTo>
                    <a:lnTo>
                      <a:pt x="665266" y="4931"/>
                    </a:lnTo>
                    <a:lnTo>
                      <a:pt x="725949" y="160843"/>
                    </a:lnTo>
                    <a:lnTo>
                      <a:pt x="789611" y="4931"/>
                    </a:lnTo>
                    <a:lnTo>
                      <a:pt x="873375" y="4931"/>
                    </a:lnTo>
                    <a:lnTo>
                      <a:pt x="873375" y="248870"/>
                    </a:lnTo>
                    <a:lnTo>
                      <a:pt x="808225" y="248870"/>
                    </a:lnTo>
                    <a:lnTo>
                      <a:pt x="808225" y="75800"/>
                    </a:lnTo>
                    <a:lnTo>
                      <a:pt x="737118" y="251108"/>
                    </a:lnTo>
                    <a:lnTo>
                      <a:pt x="694677" y="251108"/>
                    </a:lnTo>
                    <a:lnTo>
                      <a:pt x="625059" y="75800"/>
                    </a:lnTo>
                    <a:lnTo>
                      <a:pt x="625059" y="248870"/>
                    </a:lnTo>
                    <a:lnTo>
                      <a:pt x="577034" y="248870"/>
                    </a:lnTo>
                    <a:close/>
                    <a:moveTo>
                      <a:pt x="355729" y="4931"/>
                    </a:moveTo>
                    <a:lnTo>
                      <a:pt x="530170" y="4931"/>
                    </a:lnTo>
                    <a:lnTo>
                      <a:pt x="530170" y="49052"/>
                    </a:lnTo>
                    <a:lnTo>
                      <a:pt x="420819" y="49052"/>
                    </a:lnTo>
                    <a:lnTo>
                      <a:pt x="420819" y="104015"/>
                    </a:lnTo>
                    <a:lnTo>
                      <a:pt x="516036" y="104015"/>
                    </a:lnTo>
                    <a:lnTo>
                      <a:pt x="516036" y="144771"/>
                    </a:lnTo>
                    <a:lnTo>
                      <a:pt x="420819" y="144771"/>
                    </a:lnTo>
                    <a:lnTo>
                      <a:pt x="420819" y="202725"/>
                    </a:lnTo>
                    <a:lnTo>
                      <a:pt x="532402" y="202725"/>
                    </a:lnTo>
                    <a:lnTo>
                      <a:pt x="532402" y="249463"/>
                    </a:lnTo>
                    <a:lnTo>
                      <a:pt x="355729" y="249463"/>
                    </a:lnTo>
                    <a:close/>
                    <a:moveTo>
                      <a:pt x="226224" y="4931"/>
                    </a:moveTo>
                    <a:lnTo>
                      <a:pt x="293068" y="4931"/>
                    </a:lnTo>
                    <a:lnTo>
                      <a:pt x="293068" y="249464"/>
                    </a:lnTo>
                    <a:lnTo>
                      <a:pt x="259646" y="249464"/>
                    </a:lnTo>
                    <a:lnTo>
                      <a:pt x="226224" y="249464"/>
                    </a:lnTo>
                    <a:close/>
                    <a:moveTo>
                      <a:pt x="1509330" y="0"/>
                    </a:moveTo>
                    <a:cubicBezTo>
                      <a:pt x="1525645" y="0"/>
                      <a:pt x="1546780" y="2230"/>
                      <a:pt x="1573106" y="7806"/>
                    </a:cubicBezTo>
                    <a:lnTo>
                      <a:pt x="1579039" y="8921"/>
                    </a:lnTo>
                    <a:lnTo>
                      <a:pt x="1579039" y="55011"/>
                    </a:lnTo>
                    <a:cubicBezTo>
                      <a:pt x="1556421" y="46090"/>
                      <a:pt x="1535285" y="41630"/>
                      <a:pt x="1516004" y="41630"/>
                    </a:cubicBezTo>
                    <a:cubicBezTo>
                      <a:pt x="1488565" y="41630"/>
                      <a:pt x="1475217" y="49064"/>
                      <a:pt x="1475217" y="63932"/>
                    </a:cubicBezTo>
                    <a:cubicBezTo>
                      <a:pt x="1475217" y="69507"/>
                      <a:pt x="1477812" y="73968"/>
                      <a:pt x="1483745" y="78056"/>
                    </a:cubicBezTo>
                    <a:cubicBezTo>
                      <a:pt x="1488195" y="81030"/>
                      <a:pt x="1500431" y="86977"/>
                      <a:pt x="1521195" y="96641"/>
                    </a:cubicBezTo>
                    <a:cubicBezTo>
                      <a:pt x="1550488" y="109279"/>
                      <a:pt x="1570511" y="120801"/>
                      <a:pt x="1580522" y="130837"/>
                    </a:cubicBezTo>
                    <a:cubicBezTo>
                      <a:pt x="1592017" y="142360"/>
                      <a:pt x="1597949" y="157228"/>
                      <a:pt x="1597949" y="175812"/>
                    </a:cubicBezTo>
                    <a:cubicBezTo>
                      <a:pt x="1597949" y="202203"/>
                      <a:pt x="1586455" y="221903"/>
                      <a:pt x="1563466" y="236027"/>
                    </a:cubicBezTo>
                    <a:cubicBezTo>
                      <a:pt x="1544555" y="247178"/>
                      <a:pt x="1520824" y="252753"/>
                      <a:pt x="1491532" y="252753"/>
                    </a:cubicBezTo>
                    <a:cubicBezTo>
                      <a:pt x="1466689" y="252753"/>
                      <a:pt x="1441475" y="249780"/>
                      <a:pt x="1415890" y="243833"/>
                    </a:cubicBezTo>
                    <a:lnTo>
                      <a:pt x="1415890" y="195884"/>
                    </a:lnTo>
                    <a:cubicBezTo>
                      <a:pt x="1442958" y="204433"/>
                      <a:pt x="1467059" y="208893"/>
                      <a:pt x="1488565" y="208893"/>
                    </a:cubicBezTo>
                    <a:cubicBezTo>
                      <a:pt x="1517487" y="208893"/>
                      <a:pt x="1532319" y="201459"/>
                      <a:pt x="1532319" y="186220"/>
                    </a:cubicBezTo>
                    <a:cubicBezTo>
                      <a:pt x="1532319" y="180273"/>
                      <a:pt x="1530465" y="175812"/>
                      <a:pt x="1526386" y="171724"/>
                    </a:cubicBezTo>
                    <a:cubicBezTo>
                      <a:pt x="1521937" y="167635"/>
                      <a:pt x="1510813" y="161688"/>
                      <a:pt x="1493015" y="154254"/>
                    </a:cubicBezTo>
                    <a:cubicBezTo>
                      <a:pt x="1461127" y="141245"/>
                      <a:pt x="1440362" y="129722"/>
                      <a:pt x="1430351" y="120430"/>
                    </a:cubicBezTo>
                    <a:cubicBezTo>
                      <a:pt x="1418115" y="108535"/>
                      <a:pt x="1411440" y="92552"/>
                      <a:pt x="1411440" y="73596"/>
                    </a:cubicBezTo>
                    <a:cubicBezTo>
                      <a:pt x="1411440" y="49807"/>
                      <a:pt x="1420339" y="31223"/>
                      <a:pt x="1438879" y="18957"/>
                    </a:cubicBezTo>
                    <a:cubicBezTo>
                      <a:pt x="1456677" y="6319"/>
                      <a:pt x="1480779" y="0"/>
                      <a:pt x="1509330" y="0"/>
                    </a:cubicBezTo>
                    <a:close/>
                    <a:moveTo>
                      <a:pt x="97518" y="0"/>
                    </a:moveTo>
                    <a:cubicBezTo>
                      <a:pt x="113463" y="0"/>
                      <a:pt x="136823" y="2989"/>
                      <a:pt x="166857" y="8966"/>
                    </a:cubicBezTo>
                    <a:lnTo>
                      <a:pt x="166857" y="55661"/>
                    </a:lnTo>
                    <a:cubicBezTo>
                      <a:pt x="144609" y="46695"/>
                      <a:pt x="123845" y="42213"/>
                      <a:pt x="104564" y="42213"/>
                    </a:cubicBezTo>
                    <a:cubicBezTo>
                      <a:pt x="77496" y="42213"/>
                      <a:pt x="64147" y="49684"/>
                      <a:pt x="64147" y="64626"/>
                    </a:cubicBezTo>
                    <a:cubicBezTo>
                      <a:pt x="64147" y="70230"/>
                      <a:pt x="67113" y="74712"/>
                      <a:pt x="72675" y="78448"/>
                    </a:cubicBezTo>
                    <a:cubicBezTo>
                      <a:pt x="77125" y="81437"/>
                      <a:pt x="89732" y="87414"/>
                      <a:pt x="109755" y="97126"/>
                    </a:cubicBezTo>
                    <a:cubicBezTo>
                      <a:pt x="139789" y="110201"/>
                      <a:pt x="159441" y="121408"/>
                      <a:pt x="169082" y="131494"/>
                    </a:cubicBezTo>
                    <a:cubicBezTo>
                      <a:pt x="180947" y="142701"/>
                      <a:pt x="186509" y="158017"/>
                      <a:pt x="186509" y="176695"/>
                    </a:cubicBezTo>
                    <a:cubicBezTo>
                      <a:pt x="186509" y="203218"/>
                      <a:pt x="175014" y="223016"/>
                      <a:pt x="152025" y="237212"/>
                    </a:cubicBezTo>
                    <a:cubicBezTo>
                      <a:pt x="133856" y="248792"/>
                      <a:pt x="109384" y="254396"/>
                      <a:pt x="80462" y="254396"/>
                    </a:cubicBezTo>
                    <a:cubicBezTo>
                      <a:pt x="55619" y="253648"/>
                      <a:pt x="30405" y="250660"/>
                      <a:pt x="4820" y="244683"/>
                    </a:cubicBezTo>
                    <a:lnTo>
                      <a:pt x="4820" y="196494"/>
                    </a:lnTo>
                    <a:cubicBezTo>
                      <a:pt x="32259" y="205085"/>
                      <a:pt x="56731" y="209568"/>
                      <a:pt x="77496" y="209568"/>
                    </a:cubicBezTo>
                    <a:cubicBezTo>
                      <a:pt x="106047" y="209568"/>
                      <a:pt x="120878" y="202097"/>
                      <a:pt x="120878" y="186781"/>
                    </a:cubicBezTo>
                    <a:cubicBezTo>
                      <a:pt x="120878" y="180804"/>
                      <a:pt x="119025" y="176321"/>
                      <a:pt x="114204" y="172212"/>
                    </a:cubicBezTo>
                    <a:cubicBezTo>
                      <a:pt x="109755" y="168103"/>
                      <a:pt x="99002" y="162126"/>
                      <a:pt x="81574" y="154655"/>
                    </a:cubicBezTo>
                    <a:cubicBezTo>
                      <a:pt x="49686" y="141580"/>
                      <a:pt x="28922" y="130000"/>
                      <a:pt x="18910" y="120661"/>
                    </a:cubicBezTo>
                    <a:cubicBezTo>
                      <a:pt x="6303" y="107959"/>
                      <a:pt x="0" y="92643"/>
                      <a:pt x="0" y="73965"/>
                    </a:cubicBezTo>
                    <a:cubicBezTo>
                      <a:pt x="0" y="50057"/>
                      <a:pt x="8899" y="31379"/>
                      <a:pt x="27438" y="19052"/>
                    </a:cubicBezTo>
                    <a:cubicBezTo>
                      <a:pt x="45237" y="6351"/>
                      <a:pt x="68967" y="0"/>
                      <a:pt x="97518" y="0"/>
                    </a:cubicBezTo>
                    <a:close/>
                  </a:path>
                </a:pathLst>
              </a:custGeom>
              <a:solidFill>
                <a:srgbClr val="009999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defTabSz="816284">
                  <a:defRPr/>
                </a:pPr>
                <a:endParaRPr lang="en-US" sz="1574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53" name="Freihandform 252"/>
              <p:cNvSpPr>
                <a:spLocks noChangeAspect="1" noChangeArrowheads="1"/>
              </p:cNvSpPr>
              <p:nvPr/>
            </p:nvSpPr>
            <p:spPr bwMode="gray">
              <a:xfrm>
                <a:off x="6613648" y="2798826"/>
                <a:ext cx="2292197" cy="316855"/>
              </a:xfrm>
              <a:custGeom>
                <a:avLst/>
                <a:gdLst>
                  <a:gd name="connsiteX0" fmla="*/ 561040 w 2292197"/>
                  <a:gd name="connsiteY0" fmla="*/ 133276 h 316856"/>
                  <a:gd name="connsiteX1" fmla="*/ 514756 w 2292197"/>
                  <a:gd name="connsiteY1" fmla="*/ 208959 h 316856"/>
                  <a:gd name="connsiteX2" fmla="*/ 553264 w 2292197"/>
                  <a:gd name="connsiteY2" fmla="*/ 272711 h 316856"/>
                  <a:gd name="connsiteX3" fmla="*/ 587329 w 2292197"/>
                  <a:gd name="connsiteY3" fmla="*/ 241394 h 316856"/>
                  <a:gd name="connsiteX4" fmla="*/ 587329 w 2292197"/>
                  <a:gd name="connsiteY4" fmla="*/ 137750 h 316856"/>
                  <a:gd name="connsiteX5" fmla="*/ 561040 w 2292197"/>
                  <a:gd name="connsiteY5" fmla="*/ 133276 h 316856"/>
                  <a:gd name="connsiteX6" fmla="*/ 1864005 w 2292197"/>
                  <a:gd name="connsiteY6" fmla="*/ 131508 h 316856"/>
                  <a:gd name="connsiteX7" fmla="*/ 1819277 w 2292197"/>
                  <a:gd name="connsiteY7" fmla="*/ 188681 h 316856"/>
                  <a:gd name="connsiteX8" fmla="*/ 1885623 w 2292197"/>
                  <a:gd name="connsiteY8" fmla="*/ 152434 h 316856"/>
                  <a:gd name="connsiteX9" fmla="*/ 1864005 w 2292197"/>
                  <a:gd name="connsiteY9" fmla="*/ 131508 h 316856"/>
                  <a:gd name="connsiteX10" fmla="*/ 1660732 w 2292197"/>
                  <a:gd name="connsiteY10" fmla="*/ 131508 h 316856"/>
                  <a:gd name="connsiteX11" fmla="*/ 1615632 w 2292197"/>
                  <a:gd name="connsiteY11" fmla="*/ 188681 h 316856"/>
                  <a:gd name="connsiteX12" fmla="*/ 1681977 w 2292197"/>
                  <a:gd name="connsiteY12" fmla="*/ 152434 h 316856"/>
                  <a:gd name="connsiteX13" fmla="*/ 1660732 w 2292197"/>
                  <a:gd name="connsiteY13" fmla="*/ 131508 h 316856"/>
                  <a:gd name="connsiteX14" fmla="*/ 351674 w 2292197"/>
                  <a:gd name="connsiteY14" fmla="*/ 131508 h 316856"/>
                  <a:gd name="connsiteX15" fmla="*/ 306574 w 2292197"/>
                  <a:gd name="connsiteY15" fmla="*/ 188681 h 316856"/>
                  <a:gd name="connsiteX16" fmla="*/ 372919 w 2292197"/>
                  <a:gd name="connsiteY16" fmla="*/ 152434 h 316856"/>
                  <a:gd name="connsiteX17" fmla="*/ 351674 w 2292197"/>
                  <a:gd name="connsiteY17" fmla="*/ 131508 h 316856"/>
                  <a:gd name="connsiteX18" fmla="*/ 1234395 w 2292197"/>
                  <a:gd name="connsiteY18" fmla="*/ 96976 h 316856"/>
                  <a:gd name="connsiteX19" fmla="*/ 1293037 w 2292197"/>
                  <a:gd name="connsiteY19" fmla="*/ 96976 h 316856"/>
                  <a:gd name="connsiteX20" fmla="*/ 1293037 w 2292197"/>
                  <a:gd name="connsiteY20" fmla="*/ 310280 h 316856"/>
                  <a:gd name="connsiteX21" fmla="*/ 1263529 w 2292197"/>
                  <a:gd name="connsiteY21" fmla="*/ 310280 h 316856"/>
                  <a:gd name="connsiteX22" fmla="*/ 1234395 w 2292197"/>
                  <a:gd name="connsiteY22" fmla="*/ 310280 h 316856"/>
                  <a:gd name="connsiteX23" fmla="*/ 2081174 w 2292197"/>
                  <a:gd name="connsiteY23" fmla="*/ 90402 h 316856"/>
                  <a:gd name="connsiteX24" fmla="*/ 2115969 w 2292197"/>
                  <a:gd name="connsiteY24" fmla="*/ 97838 h 316856"/>
                  <a:gd name="connsiteX25" fmla="*/ 2105604 w 2292197"/>
                  <a:gd name="connsiteY25" fmla="*/ 148028 h 316856"/>
                  <a:gd name="connsiteX26" fmla="*/ 2075991 w 2292197"/>
                  <a:gd name="connsiteY26" fmla="*/ 140593 h 316856"/>
                  <a:gd name="connsiteX27" fmla="*/ 2040826 w 2292197"/>
                  <a:gd name="connsiteY27" fmla="*/ 176656 h 316856"/>
                  <a:gd name="connsiteX28" fmla="*/ 2040826 w 2292197"/>
                  <a:gd name="connsiteY28" fmla="*/ 308638 h 316856"/>
                  <a:gd name="connsiteX29" fmla="*/ 1982710 w 2292197"/>
                  <a:gd name="connsiteY29" fmla="*/ 308638 h 316856"/>
                  <a:gd name="connsiteX30" fmla="*/ 1982710 w 2292197"/>
                  <a:gd name="connsiteY30" fmla="*/ 133157 h 316856"/>
                  <a:gd name="connsiteX31" fmla="*/ 1978638 w 2292197"/>
                  <a:gd name="connsiteY31" fmla="*/ 96351 h 316856"/>
                  <a:gd name="connsiteX32" fmla="*/ 2025649 w 2292197"/>
                  <a:gd name="connsiteY32" fmla="*/ 96351 h 316856"/>
                  <a:gd name="connsiteX33" fmla="*/ 2031202 w 2292197"/>
                  <a:gd name="connsiteY33" fmla="*/ 126837 h 316856"/>
                  <a:gd name="connsiteX34" fmla="*/ 2081174 w 2292197"/>
                  <a:gd name="connsiteY34" fmla="*/ 90402 h 316856"/>
                  <a:gd name="connsiteX35" fmla="*/ 1866986 w 2292197"/>
                  <a:gd name="connsiteY35" fmla="*/ 90402 h 316856"/>
                  <a:gd name="connsiteX36" fmla="*/ 1937059 w 2292197"/>
                  <a:gd name="connsiteY36" fmla="*/ 152060 h 316856"/>
                  <a:gd name="connsiteX37" fmla="*/ 1821141 w 2292197"/>
                  <a:gd name="connsiteY37" fmla="*/ 230534 h 316856"/>
                  <a:gd name="connsiteX38" fmla="*/ 1869595 w 2292197"/>
                  <a:gd name="connsiteY38" fmla="*/ 272013 h 316856"/>
                  <a:gd name="connsiteX39" fmla="*/ 1922150 w 2292197"/>
                  <a:gd name="connsiteY39" fmla="*/ 254076 h 316856"/>
                  <a:gd name="connsiteX40" fmla="*/ 1938923 w 2292197"/>
                  <a:gd name="connsiteY40" fmla="*/ 293313 h 316856"/>
                  <a:gd name="connsiteX41" fmla="*/ 1862141 w 2292197"/>
                  <a:gd name="connsiteY41" fmla="*/ 316855 h 316856"/>
                  <a:gd name="connsiteX42" fmla="*/ 1762250 w 2292197"/>
                  <a:gd name="connsiteY42" fmla="*/ 208487 h 316856"/>
                  <a:gd name="connsiteX43" fmla="*/ 1866986 w 2292197"/>
                  <a:gd name="connsiteY43" fmla="*/ 90402 h 316856"/>
                  <a:gd name="connsiteX44" fmla="*/ 1663713 w 2292197"/>
                  <a:gd name="connsiteY44" fmla="*/ 90402 h 316856"/>
                  <a:gd name="connsiteX45" fmla="*/ 1733413 w 2292197"/>
                  <a:gd name="connsiteY45" fmla="*/ 152060 h 316856"/>
                  <a:gd name="connsiteX46" fmla="*/ 1617868 w 2292197"/>
                  <a:gd name="connsiteY46" fmla="*/ 230534 h 316856"/>
                  <a:gd name="connsiteX47" fmla="*/ 1666322 w 2292197"/>
                  <a:gd name="connsiteY47" fmla="*/ 272013 h 316856"/>
                  <a:gd name="connsiteX48" fmla="*/ 1718504 w 2292197"/>
                  <a:gd name="connsiteY48" fmla="*/ 254076 h 316856"/>
                  <a:gd name="connsiteX49" fmla="*/ 1735650 w 2292197"/>
                  <a:gd name="connsiteY49" fmla="*/ 293313 h 316856"/>
                  <a:gd name="connsiteX50" fmla="*/ 1658495 w 2292197"/>
                  <a:gd name="connsiteY50" fmla="*/ 316855 h 316856"/>
                  <a:gd name="connsiteX51" fmla="*/ 1558977 w 2292197"/>
                  <a:gd name="connsiteY51" fmla="*/ 208487 h 316856"/>
                  <a:gd name="connsiteX52" fmla="*/ 1663713 w 2292197"/>
                  <a:gd name="connsiteY52" fmla="*/ 90402 h 316856"/>
                  <a:gd name="connsiteX53" fmla="*/ 1457145 w 2292197"/>
                  <a:gd name="connsiteY53" fmla="*/ 90402 h 316856"/>
                  <a:gd name="connsiteX54" fmla="*/ 1524180 w 2292197"/>
                  <a:gd name="connsiteY54" fmla="*/ 164015 h 316856"/>
                  <a:gd name="connsiteX55" fmla="*/ 1524180 w 2292197"/>
                  <a:gd name="connsiteY55" fmla="*/ 308638 h 316856"/>
                  <a:gd name="connsiteX56" fmla="*/ 1465710 w 2292197"/>
                  <a:gd name="connsiteY56" fmla="*/ 308638 h 316856"/>
                  <a:gd name="connsiteX57" fmla="*/ 1465710 w 2292197"/>
                  <a:gd name="connsiteY57" fmla="*/ 174797 h 316856"/>
                  <a:gd name="connsiteX58" fmla="*/ 1439641 w 2292197"/>
                  <a:gd name="connsiteY58" fmla="*/ 134644 h 316856"/>
                  <a:gd name="connsiteX59" fmla="*/ 1403516 w 2292197"/>
                  <a:gd name="connsiteY59" fmla="*/ 172566 h 316856"/>
                  <a:gd name="connsiteX60" fmla="*/ 1403516 w 2292197"/>
                  <a:gd name="connsiteY60" fmla="*/ 308638 h 316856"/>
                  <a:gd name="connsiteX61" fmla="*/ 1345047 w 2292197"/>
                  <a:gd name="connsiteY61" fmla="*/ 308638 h 316856"/>
                  <a:gd name="connsiteX62" fmla="*/ 1345047 w 2292197"/>
                  <a:gd name="connsiteY62" fmla="*/ 135760 h 316856"/>
                  <a:gd name="connsiteX63" fmla="*/ 1340950 w 2292197"/>
                  <a:gd name="connsiteY63" fmla="*/ 96351 h 316856"/>
                  <a:gd name="connsiteX64" fmla="*/ 1389737 w 2292197"/>
                  <a:gd name="connsiteY64" fmla="*/ 96351 h 316856"/>
                  <a:gd name="connsiteX65" fmla="*/ 1393834 w 2292197"/>
                  <a:gd name="connsiteY65" fmla="*/ 121632 h 316856"/>
                  <a:gd name="connsiteX66" fmla="*/ 1457145 w 2292197"/>
                  <a:gd name="connsiteY66" fmla="*/ 90402 h 316856"/>
                  <a:gd name="connsiteX67" fmla="*/ 568075 w 2292197"/>
                  <a:gd name="connsiteY67" fmla="*/ 90402 h 316856"/>
                  <a:gd name="connsiteX68" fmla="*/ 644721 w 2292197"/>
                  <a:gd name="connsiteY68" fmla="*/ 105688 h 316856"/>
                  <a:gd name="connsiteX69" fmla="*/ 644721 w 2292197"/>
                  <a:gd name="connsiteY69" fmla="*/ 266746 h 316856"/>
                  <a:gd name="connsiteX70" fmla="*/ 648794 w 2292197"/>
                  <a:gd name="connsiteY70" fmla="*/ 309247 h 316856"/>
                  <a:gd name="connsiteX71" fmla="*/ 599178 w 2292197"/>
                  <a:gd name="connsiteY71" fmla="*/ 309247 h 316856"/>
                  <a:gd name="connsiteX72" fmla="*/ 596215 w 2292197"/>
                  <a:gd name="connsiteY72" fmla="*/ 287624 h 316856"/>
                  <a:gd name="connsiteX73" fmla="*/ 594364 w 2292197"/>
                  <a:gd name="connsiteY73" fmla="*/ 287251 h 316856"/>
                  <a:gd name="connsiteX74" fmla="*/ 538083 w 2292197"/>
                  <a:gd name="connsiteY74" fmla="*/ 315212 h 316856"/>
                  <a:gd name="connsiteX75" fmla="*/ 457365 w 2292197"/>
                  <a:gd name="connsiteY75" fmla="*/ 212314 h 316856"/>
                  <a:gd name="connsiteX76" fmla="*/ 568075 w 2292197"/>
                  <a:gd name="connsiteY76" fmla="*/ 90402 h 316856"/>
                  <a:gd name="connsiteX77" fmla="*/ 353910 w 2292197"/>
                  <a:gd name="connsiteY77" fmla="*/ 90402 h 316856"/>
                  <a:gd name="connsiteX78" fmla="*/ 423983 w 2292197"/>
                  <a:gd name="connsiteY78" fmla="*/ 152060 h 316856"/>
                  <a:gd name="connsiteX79" fmla="*/ 308065 w 2292197"/>
                  <a:gd name="connsiteY79" fmla="*/ 230534 h 316856"/>
                  <a:gd name="connsiteX80" fmla="*/ 356519 w 2292197"/>
                  <a:gd name="connsiteY80" fmla="*/ 272013 h 316856"/>
                  <a:gd name="connsiteX81" fmla="*/ 409073 w 2292197"/>
                  <a:gd name="connsiteY81" fmla="*/ 254076 h 316856"/>
                  <a:gd name="connsiteX82" fmla="*/ 425846 w 2292197"/>
                  <a:gd name="connsiteY82" fmla="*/ 293313 h 316856"/>
                  <a:gd name="connsiteX83" fmla="*/ 349065 w 2292197"/>
                  <a:gd name="connsiteY83" fmla="*/ 316855 h 316856"/>
                  <a:gd name="connsiteX84" fmla="*/ 249174 w 2292197"/>
                  <a:gd name="connsiteY84" fmla="*/ 208487 h 316856"/>
                  <a:gd name="connsiteX85" fmla="*/ 353910 w 2292197"/>
                  <a:gd name="connsiteY85" fmla="*/ 90402 h 316856"/>
                  <a:gd name="connsiteX86" fmla="*/ 2208041 w 2292197"/>
                  <a:gd name="connsiteY86" fmla="*/ 90249 h 316856"/>
                  <a:gd name="connsiteX87" fmla="*/ 2277182 w 2292197"/>
                  <a:gd name="connsiteY87" fmla="*/ 108139 h 316856"/>
                  <a:gd name="connsiteX88" fmla="*/ 2277182 w 2292197"/>
                  <a:gd name="connsiteY88" fmla="*/ 108512 h 316856"/>
                  <a:gd name="connsiteX89" fmla="*/ 2259711 w 2292197"/>
                  <a:gd name="connsiteY89" fmla="*/ 148764 h 316856"/>
                  <a:gd name="connsiteX90" fmla="*/ 2213245 w 2292197"/>
                  <a:gd name="connsiteY90" fmla="*/ 131620 h 316856"/>
                  <a:gd name="connsiteX91" fmla="*/ 2189455 w 2292197"/>
                  <a:gd name="connsiteY91" fmla="*/ 152119 h 316856"/>
                  <a:gd name="connsiteX92" fmla="*/ 2224025 w 2292197"/>
                  <a:gd name="connsiteY92" fmla="*/ 177836 h 316856"/>
                  <a:gd name="connsiteX93" fmla="*/ 2292050 w 2292197"/>
                  <a:gd name="connsiteY93" fmla="*/ 238960 h 316856"/>
                  <a:gd name="connsiteX94" fmla="*/ 2214360 w 2292197"/>
                  <a:gd name="connsiteY94" fmla="*/ 314993 h 316856"/>
                  <a:gd name="connsiteX95" fmla="*/ 2133325 w 2292197"/>
                  <a:gd name="connsiteY95" fmla="*/ 297103 h 316856"/>
                  <a:gd name="connsiteX96" fmla="*/ 2150796 w 2292197"/>
                  <a:gd name="connsiteY96" fmla="*/ 257223 h 316856"/>
                  <a:gd name="connsiteX97" fmla="*/ 2208784 w 2292197"/>
                  <a:gd name="connsiteY97" fmla="*/ 272504 h 316856"/>
                  <a:gd name="connsiteX98" fmla="*/ 2234433 w 2292197"/>
                  <a:gd name="connsiteY98" fmla="*/ 249023 h 316856"/>
                  <a:gd name="connsiteX99" fmla="*/ 2199863 w 2292197"/>
                  <a:gd name="connsiteY99" fmla="*/ 224424 h 316856"/>
                  <a:gd name="connsiteX100" fmla="*/ 2133325 w 2292197"/>
                  <a:gd name="connsiteY100" fmla="*/ 162555 h 316856"/>
                  <a:gd name="connsiteX101" fmla="*/ 2208041 w 2292197"/>
                  <a:gd name="connsiteY101" fmla="*/ 90249 h 316856"/>
                  <a:gd name="connsiteX102" fmla="*/ 1004892 w 2292197"/>
                  <a:gd name="connsiteY102" fmla="*/ 31230 h 316856"/>
                  <a:gd name="connsiteX103" fmla="*/ 1063095 w 2292197"/>
                  <a:gd name="connsiteY103" fmla="*/ 31230 h 316856"/>
                  <a:gd name="connsiteX104" fmla="*/ 1063095 w 2292197"/>
                  <a:gd name="connsiteY104" fmla="*/ 112822 h 316856"/>
                  <a:gd name="connsiteX105" fmla="*/ 1115736 w 2292197"/>
                  <a:gd name="connsiteY105" fmla="*/ 90841 h 316856"/>
                  <a:gd name="connsiteX106" fmla="*/ 1183207 w 2292197"/>
                  <a:gd name="connsiteY106" fmla="*/ 165727 h 316856"/>
                  <a:gd name="connsiteX107" fmla="*/ 1183207 w 2292197"/>
                  <a:gd name="connsiteY107" fmla="*/ 310283 h 316856"/>
                  <a:gd name="connsiteX108" fmla="*/ 1125004 w 2292197"/>
                  <a:gd name="connsiteY108" fmla="*/ 310283 h 316856"/>
                  <a:gd name="connsiteX109" fmla="*/ 1125004 w 2292197"/>
                  <a:gd name="connsiteY109" fmla="*/ 174668 h 316856"/>
                  <a:gd name="connsiteX110" fmla="*/ 1098313 w 2292197"/>
                  <a:gd name="connsiteY110" fmla="*/ 136294 h 316856"/>
                  <a:gd name="connsiteX111" fmla="*/ 1062353 w 2292197"/>
                  <a:gd name="connsiteY111" fmla="*/ 173178 h 316856"/>
                  <a:gd name="connsiteX112" fmla="*/ 1062353 w 2292197"/>
                  <a:gd name="connsiteY112" fmla="*/ 310283 h 316856"/>
                  <a:gd name="connsiteX113" fmla="*/ 1004892 w 2292197"/>
                  <a:gd name="connsiteY113" fmla="*/ 310283 h 316856"/>
                  <a:gd name="connsiteX114" fmla="*/ 842391 w 2292197"/>
                  <a:gd name="connsiteY114" fmla="*/ 31230 h 316856"/>
                  <a:gd name="connsiteX115" fmla="*/ 900136 w 2292197"/>
                  <a:gd name="connsiteY115" fmla="*/ 31230 h 316856"/>
                  <a:gd name="connsiteX116" fmla="*/ 900136 w 2292197"/>
                  <a:gd name="connsiteY116" fmla="*/ 97603 h 316856"/>
                  <a:gd name="connsiteX117" fmla="*/ 954920 w 2292197"/>
                  <a:gd name="connsiteY117" fmla="*/ 97603 h 316856"/>
                  <a:gd name="connsiteX118" fmla="*/ 954920 w 2292197"/>
                  <a:gd name="connsiteY118" fmla="*/ 143467 h 316856"/>
                  <a:gd name="connsiteX119" fmla="*/ 900877 w 2292197"/>
                  <a:gd name="connsiteY119" fmla="*/ 143467 h 316856"/>
                  <a:gd name="connsiteX120" fmla="*/ 900877 w 2292197"/>
                  <a:gd name="connsiteY120" fmla="*/ 238551 h 316856"/>
                  <a:gd name="connsiteX121" fmla="*/ 921236 w 2292197"/>
                  <a:gd name="connsiteY121" fmla="*/ 270992 h 316856"/>
                  <a:gd name="connsiteX122" fmla="*/ 946407 w 2292197"/>
                  <a:gd name="connsiteY122" fmla="*/ 264653 h 316856"/>
                  <a:gd name="connsiteX123" fmla="*/ 958622 w 2292197"/>
                  <a:gd name="connsiteY123" fmla="*/ 303433 h 316856"/>
                  <a:gd name="connsiteX124" fmla="*/ 905689 w 2292197"/>
                  <a:gd name="connsiteY124" fmla="*/ 316856 h 316856"/>
                  <a:gd name="connsiteX125" fmla="*/ 842391 w 2292197"/>
                  <a:gd name="connsiteY125" fmla="*/ 247128 h 316856"/>
                  <a:gd name="connsiteX126" fmla="*/ 842391 w 2292197"/>
                  <a:gd name="connsiteY126" fmla="*/ 143467 h 316856"/>
                  <a:gd name="connsiteX127" fmla="*/ 809816 w 2292197"/>
                  <a:gd name="connsiteY127" fmla="*/ 143467 h 316856"/>
                  <a:gd name="connsiteX128" fmla="*/ 809816 w 2292197"/>
                  <a:gd name="connsiteY128" fmla="*/ 97603 h 316856"/>
                  <a:gd name="connsiteX129" fmla="*/ 842391 w 2292197"/>
                  <a:gd name="connsiteY129" fmla="*/ 97603 h 316856"/>
                  <a:gd name="connsiteX130" fmla="*/ 698343 w 2292197"/>
                  <a:gd name="connsiteY130" fmla="*/ 31230 h 316856"/>
                  <a:gd name="connsiteX131" fmla="*/ 756722 w 2292197"/>
                  <a:gd name="connsiteY131" fmla="*/ 31230 h 316856"/>
                  <a:gd name="connsiteX132" fmla="*/ 756722 w 2292197"/>
                  <a:gd name="connsiteY132" fmla="*/ 238449 h 316856"/>
                  <a:gd name="connsiteX133" fmla="*/ 777045 w 2292197"/>
                  <a:gd name="connsiteY133" fmla="*/ 270932 h 316856"/>
                  <a:gd name="connsiteX134" fmla="*/ 802170 w 2292197"/>
                  <a:gd name="connsiteY134" fmla="*/ 264584 h 316856"/>
                  <a:gd name="connsiteX135" fmla="*/ 814364 w 2292197"/>
                  <a:gd name="connsiteY135" fmla="*/ 303415 h 316856"/>
                  <a:gd name="connsiteX136" fmla="*/ 761895 w 2292197"/>
                  <a:gd name="connsiteY136" fmla="*/ 316856 h 316856"/>
                  <a:gd name="connsiteX137" fmla="*/ 698343 w 2292197"/>
                  <a:gd name="connsiteY137" fmla="*/ 247036 h 316856"/>
                  <a:gd name="connsiteX138" fmla="*/ 0 w 2292197"/>
                  <a:gd name="connsiteY138" fmla="*/ 31230 h 316856"/>
                  <a:gd name="connsiteX139" fmla="*/ 59654 w 2292197"/>
                  <a:gd name="connsiteY139" fmla="*/ 31230 h 316856"/>
                  <a:gd name="connsiteX140" fmla="*/ 59654 w 2292197"/>
                  <a:gd name="connsiteY140" fmla="*/ 142255 h 316856"/>
                  <a:gd name="connsiteX141" fmla="*/ 145779 w 2292197"/>
                  <a:gd name="connsiteY141" fmla="*/ 142255 h 316856"/>
                  <a:gd name="connsiteX142" fmla="*/ 145779 w 2292197"/>
                  <a:gd name="connsiteY142" fmla="*/ 31230 h 316856"/>
                  <a:gd name="connsiteX143" fmla="*/ 206179 w 2292197"/>
                  <a:gd name="connsiteY143" fmla="*/ 31230 h 316856"/>
                  <a:gd name="connsiteX144" fmla="*/ 206179 w 2292197"/>
                  <a:gd name="connsiteY144" fmla="*/ 310283 h 316856"/>
                  <a:gd name="connsiteX145" fmla="*/ 145779 w 2292197"/>
                  <a:gd name="connsiteY145" fmla="*/ 310283 h 316856"/>
                  <a:gd name="connsiteX146" fmla="*/ 145779 w 2292197"/>
                  <a:gd name="connsiteY146" fmla="*/ 194787 h 316856"/>
                  <a:gd name="connsiteX147" fmla="*/ 59654 w 2292197"/>
                  <a:gd name="connsiteY147" fmla="*/ 194787 h 316856"/>
                  <a:gd name="connsiteX148" fmla="*/ 59654 w 2292197"/>
                  <a:gd name="connsiteY148" fmla="*/ 310283 h 316856"/>
                  <a:gd name="connsiteX149" fmla="*/ 0 w 2292197"/>
                  <a:gd name="connsiteY149" fmla="*/ 310283 h 316856"/>
                  <a:gd name="connsiteX150" fmla="*/ 1262898 w 2292197"/>
                  <a:gd name="connsiteY150" fmla="*/ 0 h 316856"/>
                  <a:gd name="connsiteX151" fmla="*/ 1294680 w 2292197"/>
                  <a:gd name="connsiteY151" fmla="*/ 30408 h 316856"/>
                  <a:gd name="connsiteX152" fmla="*/ 1262898 w 2292197"/>
                  <a:gd name="connsiteY152" fmla="*/ 60442 h 316856"/>
                  <a:gd name="connsiteX153" fmla="*/ 1231116 w 2292197"/>
                  <a:gd name="connsiteY153" fmla="*/ 30408 h 316856"/>
                  <a:gd name="connsiteX154" fmla="*/ 1262898 w 2292197"/>
                  <a:gd name="connsiteY154" fmla="*/ 0 h 31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</a:cxnLst>
                <a:rect l="l" t="t" r="r" b="b"/>
                <a:pathLst>
                  <a:path w="2292197" h="316856">
                    <a:moveTo>
                      <a:pt x="561040" y="133276"/>
                    </a:moveTo>
                    <a:cubicBezTo>
                      <a:pt x="526975" y="133276"/>
                      <a:pt x="514756" y="167576"/>
                      <a:pt x="514756" y="208959"/>
                    </a:cubicBezTo>
                    <a:cubicBezTo>
                      <a:pt x="514756" y="242885"/>
                      <a:pt x="522532" y="272711"/>
                      <a:pt x="553264" y="272711"/>
                    </a:cubicBezTo>
                    <a:cubicBezTo>
                      <a:pt x="575110" y="272711"/>
                      <a:pt x="587329" y="256680"/>
                      <a:pt x="587329" y="241394"/>
                    </a:cubicBezTo>
                    <a:lnTo>
                      <a:pt x="587329" y="137750"/>
                    </a:lnTo>
                    <a:cubicBezTo>
                      <a:pt x="581775" y="135140"/>
                      <a:pt x="572148" y="133276"/>
                      <a:pt x="561040" y="133276"/>
                    </a:cubicBezTo>
                    <a:close/>
                    <a:moveTo>
                      <a:pt x="1864005" y="131508"/>
                    </a:moveTo>
                    <a:cubicBezTo>
                      <a:pt x="1835677" y="131508"/>
                      <a:pt x="1820768" y="159908"/>
                      <a:pt x="1819277" y="188681"/>
                    </a:cubicBezTo>
                    <a:cubicBezTo>
                      <a:pt x="1846486" y="187934"/>
                      <a:pt x="1885623" y="181208"/>
                      <a:pt x="1885623" y="152434"/>
                    </a:cubicBezTo>
                    <a:cubicBezTo>
                      <a:pt x="1885623" y="139355"/>
                      <a:pt x="1877795" y="131508"/>
                      <a:pt x="1864005" y="131508"/>
                    </a:cubicBezTo>
                    <a:close/>
                    <a:moveTo>
                      <a:pt x="1660732" y="131508"/>
                    </a:moveTo>
                    <a:cubicBezTo>
                      <a:pt x="1632032" y="131508"/>
                      <a:pt x="1617123" y="159908"/>
                      <a:pt x="1615632" y="188681"/>
                    </a:cubicBezTo>
                    <a:cubicBezTo>
                      <a:pt x="1643213" y="187934"/>
                      <a:pt x="1681977" y="181208"/>
                      <a:pt x="1681977" y="152434"/>
                    </a:cubicBezTo>
                    <a:cubicBezTo>
                      <a:pt x="1681977" y="139355"/>
                      <a:pt x="1673777" y="131508"/>
                      <a:pt x="1660732" y="131508"/>
                    </a:cubicBezTo>
                    <a:close/>
                    <a:moveTo>
                      <a:pt x="351674" y="131508"/>
                    </a:moveTo>
                    <a:cubicBezTo>
                      <a:pt x="322974" y="131508"/>
                      <a:pt x="308065" y="159908"/>
                      <a:pt x="306574" y="188681"/>
                    </a:cubicBezTo>
                    <a:cubicBezTo>
                      <a:pt x="334155" y="187934"/>
                      <a:pt x="372919" y="181208"/>
                      <a:pt x="372919" y="152434"/>
                    </a:cubicBezTo>
                    <a:cubicBezTo>
                      <a:pt x="372919" y="139355"/>
                      <a:pt x="364719" y="131508"/>
                      <a:pt x="351674" y="131508"/>
                    </a:cubicBezTo>
                    <a:close/>
                    <a:moveTo>
                      <a:pt x="1234395" y="96976"/>
                    </a:moveTo>
                    <a:lnTo>
                      <a:pt x="1293037" y="96976"/>
                    </a:lnTo>
                    <a:lnTo>
                      <a:pt x="1293037" y="310280"/>
                    </a:lnTo>
                    <a:lnTo>
                      <a:pt x="1263529" y="310280"/>
                    </a:lnTo>
                    <a:lnTo>
                      <a:pt x="1234395" y="310280"/>
                    </a:lnTo>
                    <a:close/>
                    <a:moveTo>
                      <a:pt x="2081174" y="90402"/>
                    </a:moveTo>
                    <a:cubicBezTo>
                      <a:pt x="2093389" y="90402"/>
                      <a:pt x="2105975" y="92261"/>
                      <a:pt x="2115969" y="97838"/>
                    </a:cubicBezTo>
                    <a:lnTo>
                      <a:pt x="2105604" y="148028"/>
                    </a:lnTo>
                    <a:cubicBezTo>
                      <a:pt x="2096721" y="143567"/>
                      <a:pt x="2086726" y="140593"/>
                      <a:pt x="2075991" y="140593"/>
                    </a:cubicBezTo>
                    <a:cubicBezTo>
                      <a:pt x="2054892" y="140593"/>
                      <a:pt x="2041566" y="154720"/>
                      <a:pt x="2040826" y="176656"/>
                    </a:cubicBezTo>
                    <a:lnTo>
                      <a:pt x="2040826" y="308638"/>
                    </a:lnTo>
                    <a:lnTo>
                      <a:pt x="1982710" y="308638"/>
                    </a:lnTo>
                    <a:lnTo>
                      <a:pt x="1982710" y="133157"/>
                    </a:lnTo>
                    <a:lnTo>
                      <a:pt x="1978638" y="96351"/>
                    </a:lnTo>
                    <a:lnTo>
                      <a:pt x="2025649" y="96351"/>
                    </a:lnTo>
                    <a:lnTo>
                      <a:pt x="2031202" y="126837"/>
                    </a:lnTo>
                    <a:cubicBezTo>
                      <a:pt x="2041196" y="102299"/>
                      <a:pt x="2061555" y="90402"/>
                      <a:pt x="2081174" y="90402"/>
                    </a:cubicBezTo>
                    <a:close/>
                    <a:moveTo>
                      <a:pt x="1866986" y="90402"/>
                    </a:moveTo>
                    <a:cubicBezTo>
                      <a:pt x="1909477" y="90402"/>
                      <a:pt x="1937059" y="111702"/>
                      <a:pt x="1937059" y="152060"/>
                    </a:cubicBezTo>
                    <a:cubicBezTo>
                      <a:pt x="1937059" y="215213"/>
                      <a:pt x="1872577" y="227545"/>
                      <a:pt x="1821141" y="230534"/>
                    </a:cubicBezTo>
                    <a:cubicBezTo>
                      <a:pt x="1824123" y="250713"/>
                      <a:pt x="1837541" y="272013"/>
                      <a:pt x="1869595" y="272013"/>
                    </a:cubicBezTo>
                    <a:cubicBezTo>
                      <a:pt x="1891959" y="272013"/>
                      <a:pt x="1910223" y="262297"/>
                      <a:pt x="1922150" y="254076"/>
                    </a:cubicBezTo>
                    <a:lnTo>
                      <a:pt x="1938923" y="293313"/>
                    </a:lnTo>
                    <a:cubicBezTo>
                      <a:pt x="1934077" y="297050"/>
                      <a:pt x="1904632" y="316855"/>
                      <a:pt x="1862141" y="316855"/>
                    </a:cubicBezTo>
                    <a:cubicBezTo>
                      <a:pt x="1790577" y="316855"/>
                      <a:pt x="1762250" y="271640"/>
                      <a:pt x="1762250" y="208487"/>
                    </a:cubicBezTo>
                    <a:cubicBezTo>
                      <a:pt x="1762250" y="146829"/>
                      <a:pt x="1798405" y="90402"/>
                      <a:pt x="1866986" y="90402"/>
                    </a:cubicBezTo>
                    <a:close/>
                    <a:moveTo>
                      <a:pt x="1663713" y="90402"/>
                    </a:moveTo>
                    <a:cubicBezTo>
                      <a:pt x="1706204" y="90402"/>
                      <a:pt x="1733413" y="111702"/>
                      <a:pt x="1733413" y="152060"/>
                    </a:cubicBezTo>
                    <a:cubicBezTo>
                      <a:pt x="1733413" y="215213"/>
                      <a:pt x="1669304" y="227545"/>
                      <a:pt x="1617868" y="230534"/>
                    </a:cubicBezTo>
                    <a:cubicBezTo>
                      <a:pt x="1620850" y="250713"/>
                      <a:pt x="1634268" y="272013"/>
                      <a:pt x="1666322" y="272013"/>
                    </a:cubicBezTo>
                    <a:cubicBezTo>
                      <a:pt x="1688686" y="272013"/>
                      <a:pt x="1706577" y="262297"/>
                      <a:pt x="1718504" y="254076"/>
                    </a:cubicBezTo>
                    <a:lnTo>
                      <a:pt x="1735650" y="293313"/>
                    </a:lnTo>
                    <a:cubicBezTo>
                      <a:pt x="1730431" y="297050"/>
                      <a:pt x="1700986" y="316855"/>
                      <a:pt x="1658495" y="316855"/>
                    </a:cubicBezTo>
                    <a:cubicBezTo>
                      <a:pt x="1587304" y="316855"/>
                      <a:pt x="1558977" y="271640"/>
                      <a:pt x="1558977" y="208487"/>
                    </a:cubicBezTo>
                    <a:cubicBezTo>
                      <a:pt x="1558977" y="146829"/>
                      <a:pt x="1594759" y="90402"/>
                      <a:pt x="1663713" y="90402"/>
                    </a:cubicBezTo>
                    <a:close/>
                    <a:moveTo>
                      <a:pt x="1457145" y="90402"/>
                    </a:moveTo>
                    <a:cubicBezTo>
                      <a:pt x="1498483" y="90402"/>
                      <a:pt x="1524180" y="113824"/>
                      <a:pt x="1524180" y="164015"/>
                    </a:cubicBezTo>
                    <a:lnTo>
                      <a:pt x="1524180" y="308638"/>
                    </a:lnTo>
                    <a:lnTo>
                      <a:pt x="1465710" y="308638"/>
                    </a:lnTo>
                    <a:lnTo>
                      <a:pt x="1465710" y="174797"/>
                    </a:lnTo>
                    <a:cubicBezTo>
                      <a:pt x="1465710" y="152118"/>
                      <a:pt x="1462358" y="134644"/>
                      <a:pt x="1439641" y="134644"/>
                    </a:cubicBezTo>
                    <a:cubicBezTo>
                      <a:pt x="1417668" y="134644"/>
                      <a:pt x="1403516" y="152490"/>
                      <a:pt x="1403516" y="172566"/>
                    </a:cubicBezTo>
                    <a:lnTo>
                      <a:pt x="1403516" y="308638"/>
                    </a:lnTo>
                    <a:lnTo>
                      <a:pt x="1345047" y="308638"/>
                    </a:lnTo>
                    <a:lnTo>
                      <a:pt x="1345047" y="135760"/>
                    </a:lnTo>
                    <a:lnTo>
                      <a:pt x="1340950" y="96351"/>
                    </a:lnTo>
                    <a:lnTo>
                      <a:pt x="1389737" y="96351"/>
                    </a:lnTo>
                    <a:lnTo>
                      <a:pt x="1393834" y="121632"/>
                    </a:lnTo>
                    <a:cubicBezTo>
                      <a:pt x="1407985" y="102299"/>
                      <a:pt x="1429213" y="90402"/>
                      <a:pt x="1457145" y="90402"/>
                    </a:cubicBezTo>
                    <a:close/>
                    <a:moveTo>
                      <a:pt x="568075" y="90402"/>
                    </a:moveTo>
                    <a:cubicBezTo>
                      <a:pt x="582516" y="90402"/>
                      <a:pt x="613248" y="93758"/>
                      <a:pt x="644721" y="105688"/>
                    </a:cubicBezTo>
                    <a:lnTo>
                      <a:pt x="644721" y="266746"/>
                    </a:lnTo>
                    <a:lnTo>
                      <a:pt x="648794" y="309247"/>
                    </a:lnTo>
                    <a:lnTo>
                      <a:pt x="599178" y="309247"/>
                    </a:lnTo>
                    <a:lnTo>
                      <a:pt x="596215" y="287624"/>
                    </a:lnTo>
                    <a:lnTo>
                      <a:pt x="594364" y="287251"/>
                    </a:lnTo>
                    <a:cubicBezTo>
                      <a:pt x="581775" y="306637"/>
                      <a:pt x="560670" y="315212"/>
                      <a:pt x="538083" y="315212"/>
                    </a:cubicBezTo>
                    <a:cubicBezTo>
                      <a:pt x="477730" y="315212"/>
                      <a:pt x="457365" y="269356"/>
                      <a:pt x="457365" y="212314"/>
                    </a:cubicBezTo>
                    <a:cubicBezTo>
                      <a:pt x="457365" y="138869"/>
                      <a:pt x="494021" y="90402"/>
                      <a:pt x="568075" y="90402"/>
                    </a:cubicBezTo>
                    <a:close/>
                    <a:moveTo>
                      <a:pt x="353910" y="90402"/>
                    </a:moveTo>
                    <a:cubicBezTo>
                      <a:pt x="396401" y="90402"/>
                      <a:pt x="423983" y="111702"/>
                      <a:pt x="423983" y="152060"/>
                    </a:cubicBezTo>
                    <a:cubicBezTo>
                      <a:pt x="423983" y="215213"/>
                      <a:pt x="360246" y="227545"/>
                      <a:pt x="308065" y="230534"/>
                    </a:cubicBezTo>
                    <a:cubicBezTo>
                      <a:pt x="311046" y="250713"/>
                      <a:pt x="324465" y="272013"/>
                      <a:pt x="356519" y="272013"/>
                    </a:cubicBezTo>
                    <a:cubicBezTo>
                      <a:pt x="378883" y="272013"/>
                      <a:pt x="397146" y="262297"/>
                      <a:pt x="409073" y="254076"/>
                    </a:cubicBezTo>
                    <a:lnTo>
                      <a:pt x="425846" y="293313"/>
                    </a:lnTo>
                    <a:cubicBezTo>
                      <a:pt x="421001" y="297050"/>
                      <a:pt x="391555" y="316855"/>
                      <a:pt x="349065" y="316855"/>
                    </a:cubicBezTo>
                    <a:cubicBezTo>
                      <a:pt x="277501" y="316855"/>
                      <a:pt x="249174" y="271640"/>
                      <a:pt x="249174" y="208487"/>
                    </a:cubicBezTo>
                    <a:cubicBezTo>
                      <a:pt x="249174" y="146829"/>
                      <a:pt x="285328" y="90402"/>
                      <a:pt x="353910" y="90402"/>
                    </a:cubicBezTo>
                    <a:close/>
                    <a:moveTo>
                      <a:pt x="2208041" y="90249"/>
                    </a:moveTo>
                    <a:cubicBezTo>
                      <a:pt x="2234433" y="88758"/>
                      <a:pt x="2258595" y="96212"/>
                      <a:pt x="2277182" y="108139"/>
                    </a:cubicBezTo>
                    <a:lnTo>
                      <a:pt x="2277182" y="108512"/>
                    </a:lnTo>
                    <a:lnTo>
                      <a:pt x="2259711" y="148764"/>
                    </a:lnTo>
                    <a:cubicBezTo>
                      <a:pt x="2243355" y="137210"/>
                      <a:pt x="2227742" y="131247"/>
                      <a:pt x="2213245" y="131620"/>
                    </a:cubicBezTo>
                    <a:cubicBezTo>
                      <a:pt x="2199863" y="131992"/>
                      <a:pt x="2189083" y="137956"/>
                      <a:pt x="2189455" y="152119"/>
                    </a:cubicBezTo>
                    <a:cubicBezTo>
                      <a:pt x="2190570" y="168518"/>
                      <a:pt x="2205067" y="172618"/>
                      <a:pt x="2224025" y="177836"/>
                    </a:cubicBezTo>
                    <a:cubicBezTo>
                      <a:pt x="2254878" y="185663"/>
                      <a:pt x="2289448" y="194980"/>
                      <a:pt x="2292050" y="238960"/>
                    </a:cubicBezTo>
                    <a:cubicBezTo>
                      <a:pt x="2294653" y="287040"/>
                      <a:pt x="2262684" y="312384"/>
                      <a:pt x="2214360" y="314993"/>
                    </a:cubicBezTo>
                    <a:cubicBezTo>
                      <a:pt x="2177188" y="316856"/>
                      <a:pt x="2145591" y="304930"/>
                      <a:pt x="2133325" y="297103"/>
                    </a:cubicBezTo>
                    <a:lnTo>
                      <a:pt x="2150796" y="257223"/>
                    </a:lnTo>
                    <a:cubicBezTo>
                      <a:pt x="2166036" y="265050"/>
                      <a:pt x="2189827" y="273622"/>
                      <a:pt x="2208784" y="272504"/>
                    </a:cubicBezTo>
                    <a:cubicBezTo>
                      <a:pt x="2224397" y="272131"/>
                      <a:pt x="2235177" y="265050"/>
                      <a:pt x="2234433" y="249023"/>
                    </a:cubicBezTo>
                    <a:cubicBezTo>
                      <a:pt x="2233318" y="232624"/>
                      <a:pt x="2218449" y="229270"/>
                      <a:pt x="2199863" y="224424"/>
                    </a:cubicBezTo>
                    <a:cubicBezTo>
                      <a:pt x="2167895" y="216970"/>
                      <a:pt x="2135927" y="206534"/>
                      <a:pt x="2133325" y="162555"/>
                    </a:cubicBezTo>
                    <a:cubicBezTo>
                      <a:pt x="2131094" y="118202"/>
                      <a:pt x="2164549" y="92858"/>
                      <a:pt x="2208041" y="90249"/>
                    </a:cubicBezTo>
                    <a:close/>
                    <a:moveTo>
                      <a:pt x="1004892" y="31230"/>
                    </a:moveTo>
                    <a:lnTo>
                      <a:pt x="1063095" y="31230"/>
                    </a:lnTo>
                    <a:lnTo>
                      <a:pt x="1063095" y="112822"/>
                    </a:lnTo>
                    <a:cubicBezTo>
                      <a:pt x="1076440" y="98665"/>
                      <a:pt x="1095347" y="90841"/>
                      <a:pt x="1115736" y="90841"/>
                    </a:cubicBezTo>
                    <a:cubicBezTo>
                      <a:pt x="1159481" y="90841"/>
                      <a:pt x="1183207" y="115803"/>
                      <a:pt x="1183207" y="165727"/>
                    </a:cubicBezTo>
                    <a:lnTo>
                      <a:pt x="1183207" y="310283"/>
                    </a:lnTo>
                    <a:lnTo>
                      <a:pt x="1125004" y="310283"/>
                    </a:lnTo>
                    <a:lnTo>
                      <a:pt x="1125004" y="174668"/>
                    </a:lnTo>
                    <a:cubicBezTo>
                      <a:pt x="1125004" y="153432"/>
                      <a:pt x="1120556" y="136294"/>
                      <a:pt x="1098313" y="136294"/>
                    </a:cubicBezTo>
                    <a:cubicBezTo>
                      <a:pt x="1076811" y="136294"/>
                      <a:pt x="1062353" y="153432"/>
                      <a:pt x="1062353" y="173178"/>
                    </a:cubicBezTo>
                    <a:lnTo>
                      <a:pt x="1062353" y="310283"/>
                    </a:lnTo>
                    <a:lnTo>
                      <a:pt x="1004892" y="310283"/>
                    </a:lnTo>
                    <a:close/>
                    <a:moveTo>
                      <a:pt x="842391" y="31230"/>
                    </a:moveTo>
                    <a:lnTo>
                      <a:pt x="900136" y="31230"/>
                    </a:lnTo>
                    <a:lnTo>
                      <a:pt x="900136" y="97603"/>
                    </a:lnTo>
                    <a:lnTo>
                      <a:pt x="954920" y="97603"/>
                    </a:lnTo>
                    <a:lnTo>
                      <a:pt x="954920" y="143467"/>
                    </a:lnTo>
                    <a:lnTo>
                      <a:pt x="900877" y="143467"/>
                    </a:lnTo>
                    <a:lnTo>
                      <a:pt x="900877" y="238551"/>
                    </a:lnTo>
                    <a:cubicBezTo>
                      <a:pt x="900877" y="261670"/>
                      <a:pt x="905689" y="270992"/>
                      <a:pt x="921236" y="270992"/>
                    </a:cubicBezTo>
                    <a:cubicBezTo>
                      <a:pt x="928639" y="270992"/>
                      <a:pt x="936782" y="268382"/>
                      <a:pt x="946407" y="264653"/>
                    </a:cubicBezTo>
                    <a:lnTo>
                      <a:pt x="958622" y="303433"/>
                    </a:lnTo>
                    <a:cubicBezTo>
                      <a:pt x="946407" y="311636"/>
                      <a:pt x="924197" y="316856"/>
                      <a:pt x="905689" y="316856"/>
                    </a:cubicBezTo>
                    <a:cubicBezTo>
                      <a:pt x="845722" y="316856"/>
                      <a:pt x="842391" y="282551"/>
                      <a:pt x="842391" y="247128"/>
                    </a:cubicBezTo>
                    <a:lnTo>
                      <a:pt x="842391" y="143467"/>
                    </a:lnTo>
                    <a:lnTo>
                      <a:pt x="809816" y="143467"/>
                    </a:lnTo>
                    <a:lnTo>
                      <a:pt x="809816" y="97603"/>
                    </a:lnTo>
                    <a:lnTo>
                      <a:pt x="842391" y="97603"/>
                    </a:lnTo>
                    <a:close/>
                    <a:moveTo>
                      <a:pt x="698343" y="31230"/>
                    </a:moveTo>
                    <a:lnTo>
                      <a:pt x="756722" y="31230"/>
                    </a:lnTo>
                    <a:lnTo>
                      <a:pt x="756722" y="238449"/>
                    </a:lnTo>
                    <a:cubicBezTo>
                      <a:pt x="756722" y="261597"/>
                      <a:pt x="761895" y="270932"/>
                      <a:pt x="777045" y="270932"/>
                    </a:cubicBezTo>
                    <a:cubicBezTo>
                      <a:pt x="784434" y="270932"/>
                      <a:pt x="792563" y="268318"/>
                      <a:pt x="802170" y="264584"/>
                    </a:cubicBezTo>
                    <a:lnTo>
                      <a:pt x="814364" y="303415"/>
                    </a:lnTo>
                    <a:cubicBezTo>
                      <a:pt x="802170" y="311629"/>
                      <a:pt x="780000" y="316856"/>
                      <a:pt x="761895" y="316856"/>
                    </a:cubicBezTo>
                    <a:cubicBezTo>
                      <a:pt x="702038" y="316856"/>
                      <a:pt x="698343" y="282506"/>
                      <a:pt x="698343" y="247036"/>
                    </a:cubicBezTo>
                    <a:close/>
                    <a:moveTo>
                      <a:pt x="0" y="31230"/>
                    </a:moveTo>
                    <a:lnTo>
                      <a:pt x="59654" y="31230"/>
                    </a:lnTo>
                    <a:lnTo>
                      <a:pt x="59654" y="142255"/>
                    </a:lnTo>
                    <a:lnTo>
                      <a:pt x="145779" y="142255"/>
                    </a:lnTo>
                    <a:lnTo>
                      <a:pt x="145779" y="31230"/>
                    </a:lnTo>
                    <a:lnTo>
                      <a:pt x="206179" y="31230"/>
                    </a:lnTo>
                    <a:lnTo>
                      <a:pt x="206179" y="310283"/>
                    </a:lnTo>
                    <a:lnTo>
                      <a:pt x="145779" y="310283"/>
                    </a:lnTo>
                    <a:lnTo>
                      <a:pt x="145779" y="194787"/>
                    </a:lnTo>
                    <a:lnTo>
                      <a:pt x="59654" y="194787"/>
                    </a:lnTo>
                    <a:lnTo>
                      <a:pt x="59654" y="310283"/>
                    </a:lnTo>
                    <a:lnTo>
                      <a:pt x="0" y="310283"/>
                    </a:lnTo>
                    <a:close/>
                    <a:moveTo>
                      <a:pt x="1262898" y="0"/>
                    </a:moveTo>
                    <a:cubicBezTo>
                      <a:pt x="1281745" y="0"/>
                      <a:pt x="1294680" y="13890"/>
                      <a:pt x="1294680" y="30408"/>
                    </a:cubicBezTo>
                    <a:cubicBezTo>
                      <a:pt x="1294680" y="48053"/>
                      <a:pt x="1281745" y="60442"/>
                      <a:pt x="1262898" y="60442"/>
                    </a:cubicBezTo>
                    <a:cubicBezTo>
                      <a:pt x="1243681" y="60442"/>
                      <a:pt x="1231116" y="48053"/>
                      <a:pt x="1231116" y="30408"/>
                    </a:cubicBezTo>
                    <a:cubicBezTo>
                      <a:pt x="1231116" y="13890"/>
                      <a:pt x="1244051" y="0"/>
                      <a:pt x="1262898" y="0"/>
                    </a:cubicBezTo>
                    <a:close/>
                  </a:path>
                </a:pathLst>
              </a:custGeom>
              <a:solidFill>
                <a:srgbClr val="EC6602"/>
              </a:solidFill>
              <a:ln w="9525" cap="flat">
                <a:noFill/>
                <a:bevel/>
                <a:headEnd/>
                <a:tailEnd/>
              </a:ln>
              <a:effectLst/>
            </p:spPr>
            <p:txBody>
              <a:bodyPr wrap="square" anchor="ctr">
                <a:prstTxWarp prst="textNoShape">
                  <a:avLst/>
                </a:prstTxWarp>
                <a:noAutofit/>
              </a:bodyPr>
              <a:lstStyle/>
              <a:p>
                <a:pPr defTabSz="816284">
                  <a:defRPr/>
                </a:pPr>
                <a:endParaRPr lang="en-US" sz="1574" kern="0" dirty="0">
                  <a:solidFill>
                    <a:sysClr val="windowText" lastClr="000000"/>
                  </a:solidFill>
                </a:endParaRPr>
              </a:p>
            </p:txBody>
          </p:sp>
        </p:grp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>
          <a:xfrm>
            <a:off x="482349" y="216328"/>
            <a:ext cx="9139240" cy="49232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troduction/Table of contents</a:t>
            </a:r>
            <a:r>
              <a:rPr lang="en-US" noProof="0" dirty="0"/>
              <a:t>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919636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82350" y="1629985"/>
            <a:ext cx="11154316" cy="2307790"/>
          </a:xfrm>
        </p:spPr>
        <p:txBody>
          <a:bodyPr>
            <a:spAutoFit/>
          </a:bodyPr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Subhead, Calibri, 26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82350" y="6542227"/>
            <a:ext cx="5505757" cy="207749"/>
          </a:xfrm>
        </p:spPr>
        <p:txBody>
          <a:bodyPr wrap="square" anchor="b">
            <a:spAutoFit/>
          </a:bodyPr>
          <a:lstStyle>
            <a:lvl1pPr>
              <a:defRPr sz="75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Footnote | Source | Disclaimer, Calibri , 10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3" name="Gruppieren 2"/>
          <p:cNvGrpSpPr/>
          <p:nvPr userDrawn="1"/>
        </p:nvGrpSpPr>
        <p:grpSpPr>
          <a:xfrm>
            <a:off x="12642623" y="2"/>
            <a:ext cx="1864485" cy="5980315"/>
            <a:chOff x="12649206" y="1"/>
            <a:chExt cx="1865457" cy="5981700"/>
          </a:xfrm>
        </p:grpSpPr>
        <p:sp>
          <p:nvSpPr>
            <p:cNvPr id="11" name="Abgerundetes Rechteck 42"/>
            <p:cNvSpPr/>
            <p:nvPr userDrawn="1"/>
          </p:nvSpPr>
          <p:spPr>
            <a:xfrm>
              <a:off x="12649206" y="1"/>
              <a:ext cx="1865457" cy="5981700"/>
            </a:xfrm>
            <a:prstGeom prst="roundRect">
              <a:avLst>
                <a:gd name="adj" fmla="val 0"/>
              </a:avLst>
            </a:prstGeom>
            <a:solidFill>
              <a:srgbClr val="A6A2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marL="133279" lvl="1" indent="-133279">
                <a:spcBef>
                  <a:spcPts val="45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825" dirty="0">
                  <a:solidFill>
                    <a:prstClr val="white"/>
                  </a:solidFill>
                </a:rPr>
                <a:t>To ensure a clean and </a:t>
              </a:r>
              <a:br>
                <a:rPr lang="en-US" sz="825" dirty="0">
                  <a:solidFill>
                    <a:prstClr val="white"/>
                  </a:solidFill>
                </a:rPr>
              </a:br>
              <a:r>
                <a:rPr lang="en-US" sz="825" dirty="0">
                  <a:solidFill>
                    <a:prstClr val="white"/>
                  </a:solidFill>
                </a:rPr>
                <a:t>swift workflow with </a:t>
              </a:r>
              <a:r>
                <a:rPr lang="en-US" sz="825" b="1" dirty="0">
                  <a:solidFill>
                    <a:prstClr val="black"/>
                  </a:solidFill>
                </a:rPr>
                <a:t>bullet points</a:t>
              </a:r>
              <a:r>
                <a:rPr lang="en-US" sz="825" dirty="0">
                  <a:solidFill>
                    <a:prstClr val="white"/>
                  </a:solidFill>
                </a:rPr>
                <a:t>, please use the </a:t>
              </a:r>
              <a:br>
                <a:rPr lang="en-US" sz="825" dirty="0">
                  <a:solidFill>
                    <a:prstClr val="white"/>
                  </a:solidFill>
                </a:rPr>
              </a:br>
              <a:r>
                <a:rPr lang="en-US" sz="825" dirty="0">
                  <a:solidFill>
                    <a:prstClr val="white"/>
                  </a:solidFill>
                </a:rPr>
                <a:t>PRE-SET PLACEHOLDERS or FORMATTED TEXTBOXES</a:t>
              </a:r>
              <a:r>
                <a:rPr lang="en-US" sz="825" b="1" dirty="0">
                  <a:solidFill>
                    <a:prstClr val="white"/>
                  </a:solidFill>
                </a:rPr>
                <a:t>  </a:t>
              </a:r>
              <a:r>
                <a:rPr lang="en-US" sz="825" dirty="0">
                  <a:solidFill>
                    <a:prstClr val="white"/>
                  </a:solidFill>
                </a:rPr>
                <a:t>– do not use “normal” textboxes that have been added via the steps </a:t>
              </a:r>
              <a:br>
                <a:rPr lang="en-US" sz="825" dirty="0">
                  <a:solidFill>
                    <a:prstClr val="white"/>
                  </a:solidFill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 add  textbox. 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These textboxes cannot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be formatted with the automatic formatting step </a:t>
              </a:r>
            </a:p>
            <a:p>
              <a:pPr marL="133279" lvl="1" indent="-133279">
                <a:spcBef>
                  <a:spcPts val="45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825" b="1" dirty="0">
                  <a:solidFill>
                    <a:prstClr val="black"/>
                  </a:solidFill>
                  <a:sym typeface="Wingdings" panose="05000000000000000000" pitchFamily="2" charset="2"/>
                </a:rPr>
                <a:t>AUTOMATIC INDENTATIONS </a:t>
              </a: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IN PLACEHOLDERS are only 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to be done using the tool decrease or increase 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  <a:t>the list level                </a:t>
              </a: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br>
                <a:rPr lang="en-US" sz="825" dirty="0">
                  <a:solidFill>
                    <a:prstClr val="white"/>
                  </a:solidFill>
                  <a:sym typeface="Wingdings" panose="05000000000000000000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</a:rPr>
                <a:t>(or Shift + Alt + </a:t>
              </a: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</a:t>
              </a:r>
              <a:r>
                <a:rPr lang="en-US" sz="825" dirty="0">
                  <a:solidFill>
                    <a:prstClr val="white"/>
                  </a:solidFill>
                </a:rPr>
                <a:t> / </a:t>
              </a: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</a:t>
              </a:r>
              <a:r>
                <a:rPr lang="en-US" sz="825" dirty="0">
                  <a:solidFill>
                    <a:prstClr val="white"/>
                  </a:solidFill>
                </a:rPr>
                <a:t>)</a:t>
              </a:r>
            </a:p>
            <a:p>
              <a:pPr marL="133279" lvl="1" indent="-133279">
                <a:spcBef>
                  <a:spcPts val="45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825" b="1" dirty="0">
                  <a:solidFill>
                    <a:prstClr val="black"/>
                  </a:solidFill>
                </a:rPr>
                <a:t>Formatted textboxes/ placeholders </a:t>
              </a:r>
              <a:r>
                <a:rPr lang="en-US" sz="825" dirty="0">
                  <a:solidFill>
                    <a:prstClr val="white"/>
                  </a:solidFill>
                </a:rPr>
                <a:t>are available in the template – just make a copy OR: generate a new placeholder by following these steps </a:t>
              </a:r>
              <a:br>
                <a:rPr lang="en-US" sz="825" dirty="0">
                  <a:solidFill>
                    <a:prstClr val="white"/>
                  </a:solidFill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 Start  new slide</a:t>
              </a:r>
              <a:b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 choose layout </a:t>
              </a:r>
              <a:b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"Content Slide"</a:t>
              </a:r>
            </a:p>
            <a:p>
              <a:pPr marL="133279" lvl="1" indent="-133279">
                <a:spcBef>
                  <a:spcPts val="450"/>
                </a:spcBef>
                <a:buSzPct val="80000"/>
                <a:buFont typeface="Arial" panose="020B0604020202020204" pitchFamily="34" charset="0"/>
                <a:buChar char="•"/>
              </a:pP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Placeholders can be</a:t>
              </a:r>
              <a:b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filled and then copied. </a:t>
              </a:r>
              <a:b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</a:br>
              <a:r>
                <a:rPr lang="en-US" sz="825" dirty="0">
                  <a:solidFill>
                    <a:prstClr val="white"/>
                  </a:solidFill>
                  <a:sym typeface="Wingdings" pitchFamily="2" charset="2"/>
                </a:rPr>
                <a:t>The copied placeholder will keep its formatting </a:t>
              </a:r>
              <a:endParaRPr lang="en-US" sz="825" dirty="0">
                <a:solidFill>
                  <a:prstClr val="white"/>
                </a:solidFill>
              </a:endParaRPr>
            </a:p>
          </p:txBody>
        </p:sp>
        <p:grpSp>
          <p:nvGrpSpPr>
            <p:cNvPr id="12" name="Gruppieren 11"/>
            <p:cNvGrpSpPr/>
            <p:nvPr userDrawn="1">
              <p:custDataLst>
                <p:tags r:id="rId2"/>
              </p:custDataLst>
            </p:nvPr>
          </p:nvGrpSpPr>
          <p:grpSpPr bwMode="gray">
            <a:xfrm>
              <a:off x="13667545" y="2973278"/>
              <a:ext cx="393190" cy="235914"/>
              <a:chOff x="5224463" y="3254915"/>
              <a:chExt cx="539750" cy="323850"/>
            </a:xfrm>
          </p:grpSpPr>
          <p:sp>
            <p:nvSpPr>
              <p:cNvPr id="14" name="Rechteck 13"/>
              <p:cNvSpPr/>
              <p:nvPr/>
            </p:nvSpPr>
            <p:spPr bwMode="gray">
              <a:xfrm>
                <a:off x="5224463" y="3254915"/>
                <a:ext cx="539750" cy="323850"/>
              </a:xfrm>
              <a:prstGeom prst="rect">
                <a:avLst/>
              </a:prstGeom>
              <a:noFill/>
              <a:ln w="952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750" dirty="0">
                  <a:solidFill>
                    <a:prstClr val="black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15" name="Picture 20"/>
              <p:cNvPicPr>
                <a:picLocks noChangeAspect="1" noChangeArrowheads="1"/>
              </p:cNvPicPr>
              <p:nvPr/>
            </p:nvPicPr>
            <p:blipFill rotWithShape="1"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gray">
              <a:xfrm>
                <a:off x="5240736" y="3272660"/>
                <a:ext cx="507204" cy="2883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10524436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3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88415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3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72440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3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20516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3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10113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3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77623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3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06529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3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2375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3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87700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274638"/>
            <a:ext cx="12192000" cy="1143000"/>
          </a:xfrm>
          <a:prstGeom prst="rect">
            <a:avLst/>
          </a:prstGeom>
          <a:solidFill>
            <a:schemeClr val="tx2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502BB4-25DD-43DE-890E-67BD02CD437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3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201C3A-3F29-4595-9732-25922B770FF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2709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bg1"/>
          </a:solidFill>
          <a:latin typeface="Garamond" panose="02020404030301010803" pitchFamily="18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Garamond" panose="02020404030301010803" pitchFamily="18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Garamond" panose="02020404030301010803" pitchFamily="18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Garamond" panose="02020404030301010803" pitchFamily="18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Garamond" panose="02020404030301010803" pitchFamily="18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Garamond" panose="02020404030301010803" pitchFamily="18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mp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tmp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mp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tmp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362200"/>
            <a:ext cx="12192000" cy="1143000"/>
          </a:xfrm>
        </p:spPr>
        <p:txBody>
          <a:bodyPr>
            <a:normAutofit/>
          </a:bodyPr>
          <a:lstStyle/>
          <a:p>
            <a:r>
              <a:rPr lang="en-US" dirty="0"/>
              <a:t>Managing HIV Tester Certification Data</a:t>
            </a:r>
          </a:p>
        </p:txBody>
      </p:sp>
    </p:spTree>
    <p:extLst>
      <p:ext uri="{BB962C8B-B14F-4D97-AF65-F5344CB8AC3E}">
        <p14:creationId xmlns:p14="http://schemas.microsoft.com/office/powerpoint/2010/main" val="8916071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Graphical user interface, table&#10;&#10;Description automatically generated">
            <a:extLst>
              <a:ext uri="{FF2B5EF4-FFF2-40B4-BE49-F238E27FC236}">
                <a16:creationId xmlns:a16="http://schemas.microsoft.com/office/drawing/2014/main" id="{DB4ABCB1-3348-4EB2-A1A5-51E7237CE38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28" y="1777895"/>
            <a:ext cx="11968544" cy="417659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 3. Tester Training Information 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FE701A76-453E-4EEA-ACC0-421A6E2828AE}"/>
              </a:ext>
            </a:extLst>
          </p:cNvPr>
          <p:cNvGraphicFramePr>
            <a:graphicFrameLocks noGrp="1"/>
          </p:cNvGraphicFramePr>
          <p:nvPr/>
        </p:nvGraphicFramePr>
        <p:xfrm>
          <a:off x="4267200" y="2347004"/>
          <a:ext cx="2253343" cy="217037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53343">
                  <a:extLst>
                    <a:ext uri="{9D8B030D-6E8A-4147-A177-3AD203B41FA5}">
                      <a16:colId xmlns:a16="http://schemas.microsoft.com/office/drawing/2014/main" val="2133653362"/>
                    </a:ext>
                  </a:extLst>
                </a:gridCol>
              </a:tblGrid>
              <a:tr h="21067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Initial training (nationally approved RT training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24589599"/>
                  </a:ext>
                </a:extLst>
              </a:tr>
              <a:tr h="21067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Initial training (on the job training by peer)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001977582"/>
                  </a:ext>
                </a:extLst>
              </a:tr>
              <a:tr h="21067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In-service training (on job by supervisor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409842941"/>
                  </a:ext>
                </a:extLst>
              </a:tr>
              <a:tr h="21067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In-service training (nationally approved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25367123"/>
                  </a:ext>
                </a:extLst>
              </a:tr>
              <a:tr h="21067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In-service training (distance learning, i.e., ECHO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656289151"/>
                  </a:ext>
                </a:extLst>
              </a:tr>
              <a:tr h="21067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Mentoring (on job by supervisor)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217321838"/>
                  </a:ext>
                </a:extLst>
              </a:tr>
              <a:tr h="21067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Mentoring (distance learning, i.e., ECHO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665343137"/>
                  </a:ext>
                </a:extLst>
              </a:tr>
              <a:tr h="21067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Refresher training (nationally approved RT training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27373910"/>
                  </a:ext>
                </a:extLst>
              </a:tr>
              <a:tr h="21067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Refresher training (topic specific training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187850497"/>
                  </a:ext>
                </a:extLst>
              </a:tr>
              <a:tr h="21067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Regional workshop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154042275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E65A5361-3C22-466C-8864-B2A8F2F7C326}"/>
              </a:ext>
            </a:extLst>
          </p:cNvPr>
          <p:cNvGraphicFramePr>
            <a:graphicFrameLocks noGrp="1"/>
          </p:cNvGraphicFramePr>
          <p:nvPr/>
        </p:nvGraphicFramePr>
        <p:xfrm>
          <a:off x="7822293" y="2347004"/>
          <a:ext cx="680961" cy="7874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80961">
                  <a:extLst>
                    <a:ext uri="{9D8B030D-6E8A-4147-A177-3AD203B41FA5}">
                      <a16:colId xmlns:a16="http://schemas.microsoft.com/office/drawing/2014/main" val="3595703023"/>
                    </a:ext>
                  </a:extLst>
                </a:gridCol>
              </a:tblGrid>
              <a:tr h="19685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FBO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65903381"/>
                  </a:ext>
                </a:extLst>
              </a:tr>
              <a:tr h="19685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Government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153463896"/>
                  </a:ext>
                </a:extLst>
              </a:tr>
              <a:tr h="19685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NGO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466730349"/>
                  </a:ext>
                </a:extLst>
              </a:tr>
              <a:tr h="19685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Private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490332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30338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Tab 4. Tester Competency Assessment and Certification Information</a:t>
            </a:r>
          </a:p>
        </p:txBody>
      </p:sp>
      <p:pic>
        <p:nvPicPr>
          <p:cNvPr id="4" name="Picture 3" descr="Graphical user interface, application, table&#10;&#10;Description automatically generated">
            <a:extLst>
              <a:ext uri="{FF2B5EF4-FFF2-40B4-BE49-F238E27FC236}">
                <a16:creationId xmlns:a16="http://schemas.microsoft.com/office/drawing/2014/main" id="{52080BB4-A814-4013-AEC0-85F9E457203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305" y="1758393"/>
            <a:ext cx="11481390" cy="3994355"/>
          </a:xfrm>
          <a:prstGeom prst="rect">
            <a:avLst/>
          </a:prstGeom>
        </p:spPr>
      </p:pic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07002B13-E73C-42B8-AD33-C6A58B9501FA}"/>
              </a:ext>
            </a:extLst>
          </p:cNvPr>
          <p:cNvGraphicFramePr>
            <a:graphicFrameLocks noGrp="1"/>
          </p:cNvGraphicFramePr>
          <p:nvPr/>
        </p:nvGraphicFramePr>
        <p:xfrm>
          <a:off x="4822371" y="2697049"/>
          <a:ext cx="892629" cy="5905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92629">
                  <a:extLst>
                    <a:ext uri="{9D8B030D-6E8A-4147-A177-3AD203B41FA5}">
                      <a16:colId xmlns:a16="http://schemas.microsoft.com/office/drawing/2014/main" val="873707379"/>
                    </a:ext>
                  </a:extLst>
                </a:gridCol>
              </a:tblGrid>
              <a:tr h="19685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Certified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723705556"/>
                  </a:ext>
                </a:extLst>
              </a:tr>
              <a:tr h="19685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Failed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027539746"/>
                  </a:ext>
                </a:extLst>
              </a:tr>
              <a:tr h="19685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Pending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108253698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9B1A45CD-9A69-4D21-A283-FA36D5C2F723}"/>
              </a:ext>
            </a:extLst>
          </p:cNvPr>
          <p:cNvGraphicFramePr>
            <a:graphicFrameLocks noGrp="1"/>
          </p:cNvGraphicFramePr>
          <p:nvPr/>
        </p:nvGraphicFramePr>
        <p:xfrm>
          <a:off x="8806543" y="2697049"/>
          <a:ext cx="457200" cy="3937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57200">
                  <a:extLst>
                    <a:ext uri="{9D8B030D-6E8A-4147-A177-3AD203B41FA5}">
                      <a16:colId xmlns:a16="http://schemas.microsoft.com/office/drawing/2014/main" val="3018634883"/>
                    </a:ext>
                  </a:extLst>
                </a:gridCol>
              </a:tblGrid>
              <a:tr h="19685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Email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836357809"/>
                  </a:ext>
                </a:extLst>
              </a:tr>
              <a:tr h="19685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Phone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200721037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AFC68D7E-3790-49D2-94D3-762588663001}"/>
              </a:ext>
            </a:extLst>
          </p:cNvPr>
          <p:cNvGraphicFramePr>
            <a:graphicFrameLocks noGrp="1"/>
          </p:cNvGraphicFramePr>
          <p:nvPr/>
        </p:nvGraphicFramePr>
        <p:xfrm>
          <a:off x="9425504" y="2697049"/>
          <a:ext cx="1164771" cy="3937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64771">
                  <a:extLst>
                    <a:ext uri="{9D8B030D-6E8A-4147-A177-3AD203B41FA5}">
                      <a16:colId xmlns:a16="http://schemas.microsoft.com/office/drawing/2014/main" val="942715416"/>
                    </a:ext>
                  </a:extLst>
                </a:gridCol>
              </a:tblGrid>
              <a:tr h="19685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</a:rPr>
                        <a:t>District Lab Technologist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168845100"/>
                  </a:ext>
                </a:extLst>
              </a:tr>
              <a:tr h="19685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</a:rPr>
                        <a:t>Facility in charge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8864698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233683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25AC58-C109-4D99-BE7B-8A8AE39343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 5. Drop Down List</a:t>
            </a:r>
          </a:p>
        </p:txBody>
      </p:sp>
      <p:pic>
        <p:nvPicPr>
          <p:cNvPr id="4" name="Picture 3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B71A8D22-9490-4E6C-9369-863E9653874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970" y="1409596"/>
            <a:ext cx="11856059" cy="4038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41762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hat the different types of certification data?</a:t>
            </a:r>
          </a:p>
          <a:p>
            <a:r>
              <a:rPr lang="en-US" dirty="0"/>
              <a:t>What are the key elements of the certification data management process?</a:t>
            </a:r>
          </a:p>
          <a:p>
            <a:r>
              <a:rPr lang="en-US" dirty="0"/>
              <a:t>What is the purpose of the certification data management tool?</a:t>
            </a:r>
          </a:p>
          <a:p>
            <a:r>
              <a:rPr lang="en-US" dirty="0"/>
              <a:t>What are the different components of the certification data management tool?</a:t>
            </a:r>
          </a:p>
        </p:txBody>
      </p:sp>
    </p:spTree>
    <p:extLst>
      <p:ext uri="{BB962C8B-B14F-4D97-AF65-F5344CB8AC3E}">
        <p14:creationId xmlns:p14="http://schemas.microsoft.com/office/powerpoint/2010/main" val="27246566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rning Objectiv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890540"/>
          </a:xfrm>
        </p:spPr>
        <p:txBody>
          <a:bodyPr>
            <a:normAutofit lnSpcReduction="10000"/>
          </a:bodyPr>
          <a:lstStyle/>
          <a:p>
            <a:r>
              <a:rPr lang="en-US" sz="4000" dirty="0"/>
              <a:t>At the end of the session, you will be able to:</a:t>
            </a:r>
          </a:p>
          <a:p>
            <a:pPr lvl="1"/>
            <a:r>
              <a:rPr lang="en-US" sz="3600" dirty="0"/>
              <a:t>Understand what constitute the certification data</a:t>
            </a:r>
          </a:p>
          <a:p>
            <a:pPr lvl="1"/>
            <a:r>
              <a:rPr lang="en-US" sz="3600" dirty="0"/>
              <a:t>Describe what are the key elements of the certification data management process</a:t>
            </a:r>
          </a:p>
          <a:p>
            <a:pPr lvl="1"/>
            <a:r>
              <a:rPr lang="en-US" sz="3600" dirty="0"/>
              <a:t>Understand the purpose of the certification data management tool</a:t>
            </a:r>
          </a:p>
          <a:p>
            <a:pPr lvl="1"/>
            <a:r>
              <a:rPr lang="en-US" sz="3600" dirty="0"/>
              <a:t>Describe the different components of the certification data management tool</a:t>
            </a:r>
          </a:p>
        </p:txBody>
      </p:sp>
    </p:spTree>
    <p:extLst>
      <p:ext uri="{BB962C8B-B14F-4D97-AF65-F5344CB8AC3E}">
        <p14:creationId xmlns:p14="http://schemas.microsoft.com/office/powerpoint/2010/main" val="411441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ype of Certification Data 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half" idx="1"/>
          </p:nvPr>
        </p:nvSpPr>
        <p:spPr>
          <a:xfrm>
            <a:off x="561703" y="1600200"/>
            <a:ext cx="5458097" cy="5105400"/>
          </a:xfrm>
        </p:spPr>
        <p:txBody>
          <a:bodyPr>
            <a:noAutofit/>
          </a:bodyPr>
          <a:lstStyle/>
          <a:p>
            <a:r>
              <a:rPr lang="en-US" dirty="0"/>
              <a:t>Provider information</a:t>
            </a:r>
          </a:p>
          <a:p>
            <a:pPr lvl="1"/>
            <a:r>
              <a:rPr lang="en-US" dirty="0"/>
              <a:t>Name</a:t>
            </a:r>
          </a:p>
          <a:p>
            <a:pPr lvl="1"/>
            <a:r>
              <a:rPr lang="en-US" dirty="0"/>
              <a:t>Geographic location</a:t>
            </a:r>
          </a:p>
          <a:p>
            <a:pPr lvl="1"/>
            <a:r>
              <a:rPr lang="en-US" dirty="0"/>
              <a:t>Affiliation</a:t>
            </a:r>
          </a:p>
          <a:p>
            <a:pPr lvl="1"/>
            <a:r>
              <a:rPr lang="en-US" dirty="0"/>
              <a:t>Contact</a:t>
            </a:r>
          </a:p>
          <a:p>
            <a:pPr lvl="1"/>
            <a:r>
              <a:rPr lang="en-US" dirty="0"/>
              <a:t>Contact of person in charge</a:t>
            </a:r>
          </a:p>
          <a:p>
            <a:r>
              <a:rPr lang="en-US" dirty="0"/>
              <a:t>Training information</a:t>
            </a:r>
          </a:p>
          <a:p>
            <a:pPr lvl="1"/>
            <a:r>
              <a:rPr lang="en-US" dirty="0"/>
              <a:t>Type of training</a:t>
            </a:r>
          </a:p>
          <a:p>
            <a:pPr lvl="1"/>
            <a:r>
              <a:rPr lang="en-US" dirty="0"/>
              <a:t>Training organization</a:t>
            </a:r>
          </a:p>
          <a:p>
            <a:pPr lvl="1"/>
            <a:r>
              <a:rPr lang="en-US" dirty="0"/>
              <a:t>Trainer(s)</a:t>
            </a:r>
          </a:p>
          <a:p>
            <a:pPr lvl="1"/>
            <a:r>
              <a:rPr lang="en-US" dirty="0"/>
              <a:t>Training certificat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half" idx="2"/>
          </p:nvPr>
        </p:nvSpPr>
        <p:spPr>
          <a:xfrm>
            <a:off x="6407331" y="1600200"/>
            <a:ext cx="5610497" cy="4953000"/>
          </a:xfrm>
        </p:spPr>
        <p:txBody>
          <a:bodyPr>
            <a:noAutofit/>
          </a:bodyPr>
          <a:lstStyle/>
          <a:p>
            <a:r>
              <a:rPr lang="en-US" dirty="0"/>
              <a:t>Examination</a:t>
            </a:r>
          </a:p>
          <a:p>
            <a:pPr lvl="1"/>
            <a:r>
              <a:rPr lang="en-US" dirty="0"/>
              <a:t>Written exam</a:t>
            </a:r>
          </a:p>
          <a:p>
            <a:pPr lvl="1"/>
            <a:r>
              <a:rPr lang="en-US" dirty="0"/>
              <a:t>Practical exam</a:t>
            </a:r>
          </a:p>
          <a:p>
            <a:pPr lvl="1"/>
            <a:r>
              <a:rPr lang="en-US" dirty="0"/>
              <a:t>Examiner/Proctor</a:t>
            </a:r>
          </a:p>
          <a:p>
            <a:pPr lvl="1"/>
            <a:r>
              <a:rPr lang="en-US" dirty="0"/>
              <a:t>Number of attempts</a:t>
            </a:r>
          </a:p>
          <a:p>
            <a:r>
              <a:rPr lang="en-US" dirty="0"/>
              <a:t>Certification</a:t>
            </a:r>
          </a:p>
          <a:p>
            <a:pPr lvl="1"/>
            <a:r>
              <a:rPr lang="en-US" dirty="0"/>
              <a:t>Type of certification </a:t>
            </a:r>
          </a:p>
          <a:p>
            <a:pPr lvl="1"/>
            <a:r>
              <a:rPr lang="en-US" dirty="0"/>
              <a:t>Certification Issuer</a:t>
            </a:r>
          </a:p>
          <a:p>
            <a:pPr lvl="1"/>
            <a:r>
              <a:rPr lang="en-US" dirty="0"/>
              <a:t>Date of issuance</a:t>
            </a:r>
          </a:p>
          <a:p>
            <a:pPr lvl="1"/>
            <a:r>
              <a:rPr lang="en-US" dirty="0"/>
              <a:t>Recertification reminder email</a:t>
            </a:r>
          </a:p>
          <a:p>
            <a:pPr lvl="1"/>
            <a:r>
              <a:rPr lang="en-US" dirty="0"/>
              <a:t>Recertification information</a:t>
            </a:r>
          </a:p>
          <a:p>
            <a:pPr marL="0" indent="0">
              <a:buNone/>
            </a:pPr>
            <a:endParaRPr lang="en-US" dirty="0"/>
          </a:p>
          <a:p>
            <a:pPr lvl="1"/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29573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B36F400F-DF28-43BC-8D8E-4929793B39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21564" y="320040"/>
            <a:ext cx="11548872" cy="6217920"/>
          </a:xfrm>
          <a:prstGeom prst="rect">
            <a:avLst/>
          </a:prstGeom>
          <a:solidFill>
            <a:schemeClr val="tx1">
              <a:alpha val="15000"/>
            </a:schemeClr>
          </a:solidFill>
          <a:ln w="127000" cap="sq" cmpd="thinThick">
            <a:solidFill>
              <a:schemeClr val="tx1"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668377"/>
            <a:ext cx="10515600" cy="1325563"/>
          </a:xfrm>
        </p:spPr>
        <p:txBody>
          <a:bodyPr>
            <a:normAutofit/>
          </a:bodyPr>
          <a:lstStyle/>
          <a:p>
            <a:r>
              <a:rPr lang="en-US"/>
              <a:t>Key Data Management Area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2177456"/>
            <a:ext cx="5097780" cy="3795748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000"/>
              <a:t>Data collection/capture</a:t>
            </a:r>
          </a:p>
          <a:p>
            <a:pPr lvl="1">
              <a:lnSpc>
                <a:spcPct val="90000"/>
              </a:lnSpc>
            </a:pPr>
            <a:r>
              <a:rPr lang="en-US" sz="2000"/>
              <a:t>Written and practical examination documentation</a:t>
            </a:r>
          </a:p>
          <a:p>
            <a:pPr lvl="1">
              <a:lnSpc>
                <a:spcPct val="90000"/>
              </a:lnSpc>
            </a:pPr>
            <a:r>
              <a:rPr lang="en-US" sz="2000"/>
              <a:t>Registration sheet</a:t>
            </a:r>
          </a:p>
          <a:p>
            <a:pPr lvl="1">
              <a:lnSpc>
                <a:spcPct val="90000"/>
              </a:lnSpc>
            </a:pPr>
            <a:r>
              <a:rPr lang="en-US" sz="2000"/>
              <a:t>Database (Excel or Web-based dashboard)</a:t>
            </a:r>
          </a:p>
          <a:p>
            <a:pPr marL="457200" lvl="1" indent="0">
              <a:lnSpc>
                <a:spcPct val="90000"/>
              </a:lnSpc>
              <a:buNone/>
            </a:pPr>
            <a:endParaRPr lang="en-US" sz="2000"/>
          </a:p>
          <a:p>
            <a:pPr>
              <a:lnSpc>
                <a:spcPct val="90000"/>
              </a:lnSpc>
            </a:pPr>
            <a:r>
              <a:rPr lang="en-US" sz="2000"/>
              <a:t>Data Quality</a:t>
            </a:r>
          </a:p>
          <a:p>
            <a:pPr lvl="1">
              <a:lnSpc>
                <a:spcPct val="90000"/>
              </a:lnSpc>
            </a:pPr>
            <a:r>
              <a:rPr lang="en-US" sz="2000"/>
              <a:t>Review/Quality check</a:t>
            </a:r>
          </a:p>
          <a:p>
            <a:pPr lvl="1">
              <a:lnSpc>
                <a:spcPct val="90000"/>
              </a:lnSpc>
            </a:pPr>
            <a:r>
              <a:rPr lang="en-US" sz="2000"/>
              <a:t>Double entries </a:t>
            </a:r>
          </a:p>
          <a:p>
            <a:pPr lvl="1">
              <a:lnSpc>
                <a:spcPct val="90000"/>
              </a:lnSpc>
            </a:pPr>
            <a:r>
              <a:rPr lang="en-US" sz="2000"/>
              <a:t>Validation</a:t>
            </a:r>
          </a:p>
          <a:p>
            <a:pPr lvl="1">
              <a:lnSpc>
                <a:spcPct val="90000"/>
              </a:lnSpc>
            </a:pPr>
            <a:endParaRPr lang="en-US" sz="2000"/>
          </a:p>
          <a:p>
            <a:pPr lvl="1">
              <a:lnSpc>
                <a:spcPct val="90000"/>
              </a:lnSpc>
            </a:pPr>
            <a:endParaRPr lang="en-US" sz="200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56020" y="2177456"/>
            <a:ext cx="5097780" cy="3795748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en-US" sz="1700"/>
              <a:t>Data Access</a:t>
            </a:r>
          </a:p>
          <a:p>
            <a:pPr lvl="1">
              <a:lnSpc>
                <a:spcPct val="90000"/>
              </a:lnSpc>
            </a:pPr>
            <a:r>
              <a:rPr lang="en-US" sz="1700"/>
              <a:t>National: MOH/Certification Body</a:t>
            </a:r>
          </a:p>
          <a:p>
            <a:pPr lvl="1">
              <a:lnSpc>
                <a:spcPct val="90000"/>
              </a:lnSpc>
            </a:pPr>
            <a:r>
              <a:rPr lang="en-US" sz="1700"/>
              <a:t>Regional/District/Provincial: Registrar, Data clerk/manager</a:t>
            </a:r>
          </a:p>
          <a:p>
            <a:pPr lvl="1">
              <a:lnSpc>
                <a:spcPct val="90000"/>
              </a:lnSpc>
            </a:pPr>
            <a:r>
              <a:rPr lang="en-US" sz="1700"/>
              <a:t>Mid-level: Evaluator, Proctor, data clerk</a:t>
            </a:r>
          </a:p>
          <a:p>
            <a:pPr lvl="1">
              <a:lnSpc>
                <a:spcPct val="90000"/>
              </a:lnSpc>
            </a:pPr>
            <a:r>
              <a:rPr lang="en-US" sz="1700"/>
              <a:t>Site: Tester  </a:t>
            </a:r>
          </a:p>
          <a:p>
            <a:pPr>
              <a:lnSpc>
                <a:spcPct val="90000"/>
              </a:lnSpc>
            </a:pPr>
            <a:endParaRPr lang="en-US" sz="1700"/>
          </a:p>
          <a:p>
            <a:pPr>
              <a:lnSpc>
                <a:spcPct val="90000"/>
              </a:lnSpc>
            </a:pPr>
            <a:r>
              <a:rPr lang="en-US" sz="1700"/>
              <a:t>Data Security</a:t>
            </a:r>
          </a:p>
          <a:p>
            <a:pPr lvl="1">
              <a:lnSpc>
                <a:spcPct val="90000"/>
              </a:lnSpc>
            </a:pPr>
            <a:r>
              <a:rPr lang="en-US" sz="1700"/>
              <a:t>Transport </a:t>
            </a:r>
          </a:p>
          <a:p>
            <a:pPr lvl="1">
              <a:lnSpc>
                <a:spcPct val="90000"/>
              </a:lnSpc>
            </a:pPr>
            <a:r>
              <a:rPr lang="en-US" sz="1700"/>
              <a:t>Electronic transfer</a:t>
            </a:r>
          </a:p>
          <a:p>
            <a:pPr lvl="1">
              <a:lnSpc>
                <a:spcPct val="90000"/>
              </a:lnSpc>
            </a:pPr>
            <a:r>
              <a:rPr lang="en-US" sz="1700"/>
              <a:t>Storage / Archiving</a:t>
            </a:r>
          </a:p>
          <a:p>
            <a:pPr lvl="2">
              <a:lnSpc>
                <a:spcPct val="90000"/>
              </a:lnSpc>
            </a:pPr>
            <a:r>
              <a:rPr lang="en-US" sz="1700"/>
              <a:t>Physical </a:t>
            </a:r>
          </a:p>
          <a:p>
            <a:pPr lvl="2">
              <a:lnSpc>
                <a:spcPct val="90000"/>
              </a:lnSpc>
            </a:pPr>
            <a:r>
              <a:rPr lang="en-US" sz="1700"/>
              <a:t>Electronic</a:t>
            </a:r>
          </a:p>
          <a:p>
            <a:pPr marL="0" indent="0">
              <a:lnSpc>
                <a:spcPct val="90000"/>
              </a:lnSpc>
              <a:buNone/>
            </a:pPr>
            <a:endParaRPr lang="en-US" sz="1700"/>
          </a:p>
        </p:txBody>
      </p:sp>
    </p:spTree>
    <p:extLst>
      <p:ext uri="{BB962C8B-B14F-4D97-AF65-F5344CB8AC3E}">
        <p14:creationId xmlns:p14="http://schemas.microsoft.com/office/powerpoint/2010/main" val="11061434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aging the Certification Data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92439" y="1410362"/>
            <a:ext cx="12007122" cy="5447638"/>
            <a:chOff x="2246767" y="1657701"/>
            <a:chExt cx="7698465" cy="4620755"/>
          </a:xfrm>
        </p:grpSpPr>
        <p:sp>
          <p:nvSpPr>
            <p:cNvPr id="6" name="Freeform 5"/>
            <p:cNvSpPr/>
            <p:nvPr/>
          </p:nvSpPr>
          <p:spPr>
            <a:xfrm>
              <a:off x="2246767" y="1657701"/>
              <a:ext cx="7698464" cy="1119572"/>
            </a:xfrm>
            <a:custGeom>
              <a:avLst/>
              <a:gdLst>
                <a:gd name="connsiteX0" fmla="*/ 0 w 7698464"/>
                <a:gd name="connsiteY0" fmla="*/ 279893 h 1119572"/>
                <a:gd name="connsiteX1" fmla="*/ 7138678 w 7698464"/>
                <a:gd name="connsiteY1" fmla="*/ 279893 h 1119572"/>
                <a:gd name="connsiteX2" fmla="*/ 7138678 w 7698464"/>
                <a:gd name="connsiteY2" fmla="*/ 0 h 1119572"/>
                <a:gd name="connsiteX3" fmla="*/ 7698464 w 7698464"/>
                <a:gd name="connsiteY3" fmla="*/ 559786 h 1119572"/>
                <a:gd name="connsiteX4" fmla="*/ 7138678 w 7698464"/>
                <a:gd name="connsiteY4" fmla="*/ 1119572 h 1119572"/>
                <a:gd name="connsiteX5" fmla="*/ 7138678 w 7698464"/>
                <a:gd name="connsiteY5" fmla="*/ 839679 h 1119572"/>
                <a:gd name="connsiteX6" fmla="*/ 0 w 7698464"/>
                <a:gd name="connsiteY6" fmla="*/ 839679 h 1119572"/>
                <a:gd name="connsiteX7" fmla="*/ 0 w 7698464"/>
                <a:gd name="connsiteY7" fmla="*/ 279893 h 1119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698464" h="1119572">
                  <a:moveTo>
                    <a:pt x="0" y="279893"/>
                  </a:moveTo>
                  <a:lnTo>
                    <a:pt x="7138678" y="279893"/>
                  </a:lnTo>
                  <a:lnTo>
                    <a:pt x="7138678" y="0"/>
                  </a:lnTo>
                  <a:lnTo>
                    <a:pt x="7698464" y="559786"/>
                  </a:lnTo>
                  <a:lnTo>
                    <a:pt x="7138678" y="1119572"/>
                  </a:lnTo>
                  <a:lnTo>
                    <a:pt x="7138678" y="839679"/>
                  </a:lnTo>
                  <a:lnTo>
                    <a:pt x="0" y="839679"/>
                  </a:lnTo>
                  <a:lnTo>
                    <a:pt x="0" y="2798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1920" tIns="401813" rIns="533893" bIns="457625" numCol="1" spcCol="1270" anchor="ctr" anchorCtr="0">
              <a:noAutofit/>
            </a:bodyPr>
            <a:lstStyle/>
            <a:p>
              <a:pPr lvl="0" algn="l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3200" kern="1200" dirty="0"/>
                <a:t>1. Collect</a:t>
              </a:r>
            </a:p>
          </p:txBody>
        </p:sp>
        <p:sp>
          <p:nvSpPr>
            <p:cNvPr id="7" name="Freeform 6"/>
            <p:cNvSpPr/>
            <p:nvPr/>
          </p:nvSpPr>
          <p:spPr>
            <a:xfrm>
              <a:off x="2246767" y="2519608"/>
              <a:ext cx="1430102" cy="2379287"/>
            </a:xfrm>
            <a:custGeom>
              <a:avLst/>
              <a:gdLst>
                <a:gd name="connsiteX0" fmla="*/ 0 w 1422830"/>
                <a:gd name="connsiteY0" fmla="*/ 0 h 2055714"/>
                <a:gd name="connsiteX1" fmla="*/ 1422830 w 1422830"/>
                <a:gd name="connsiteY1" fmla="*/ 0 h 2055714"/>
                <a:gd name="connsiteX2" fmla="*/ 1422830 w 1422830"/>
                <a:gd name="connsiteY2" fmla="*/ 2055714 h 2055714"/>
                <a:gd name="connsiteX3" fmla="*/ 0 w 1422830"/>
                <a:gd name="connsiteY3" fmla="*/ 2055714 h 2055714"/>
                <a:gd name="connsiteX4" fmla="*/ 0 w 1422830"/>
                <a:gd name="connsiteY4" fmla="*/ 0 h 2055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2830" h="2055714">
                  <a:moveTo>
                    <a:pt x="0" y="0"/>
                  </a:moveTo>
                  <a:lnTo>
                    <a:pt x="1422830" y="0"/>
                  </a:lnTo>
                  <a:lnTo>
                    <a:pt x="1422830" y="2055714"/>
                  </a:lnTo>
                  <a:lnTo>
                    <a:pt x="0" y="2055714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8580" tIns="68580" rIns="68580" bIns="68580" numCol="1" spcCol="1270" anchor="t" anchorCtr="0">
              <a:noAutofit/>
            </a:bodyPr>
            <a:lstStyle/>
            <a:p>
              <a:pPr marL="165100" lvl="0" indent="-16510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sz="1800" kern="1200" dirty="0"/>
                <a:t>Registration sheet, written examination sheet and practical examination result forms</a:t>
              </a:r>
            </a:p>
            <a:p>
              <a:pPr marL="165100" lvl="0" indent="-16510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sz="1800" kern="1200" dirty="0"/>
                <a:t>Direct observation checklists</a:t>
              </a:r>
            </a:p>
            <a:p>
              <a:pPr marL="165100" lvl="0" indent="-16510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sz="1800" kern="1200" dirty="0"/>
                <a:t>Written examination questions + answer key</a:t>
              </a:r>
            </a:p>
          </p:txBody>
        </p:sp>
        <p:sp>
          <p:nvSpPr>
            <p:cNvPr id="8" name="Freeform 7"/>
            <p:cNvSpPr/>
            <p:nvPr/>
          </p:nvSpPr>
          <p:spPr>
            <a:xfrm>
              <a:off x="3669443" y="2031035"/>
              <a:ext cx="6275788" cy="1119572"/>
            </a:xfrm>
            <a:custGeom>
              <a:avLst/>
              <a:gdLst>
                <a:gd name="connsiteX0" fmla="*/ 0 w 6275788"/>
                <a:gd name="connsiteY0" fmla="*/ 279893 h 1119572"/>
                <a:gd name="connsiteX1" fmla="*/ 5716002 w 6275788"/>
                <a:gd name="connsiteY1" fmla="*/ 279893 h 1119572"/>
                <a:gd name="connsiteX2" fmla="*/ 5716002 w 6275788"/>
                <a:gd name="connsiteY2" fmla="*/ 0 h 1119572"/>
                <a:gd name="connsiteX3" fmla="*/ 6275788 w 6275788"/>
                <a:gd name="connsiteY3" fmla="*/ 559786 h 1119572"/>
                <a:gd name="connsiteX4" fmla="*/ 5716002 w 6275788"/>
                <a:gd name="connsiteY4" fmla="*/ 1119572 h 1119572"/>
                <a:gd name="connsiteX5" fmla="*/ 5716002 w 6275788"/>
                <a:gd name="connsiteY5" fmla="*/ 839679 h 1119572"/>
                <a:gd name="connsiteX6" fmla="*/ 0 w 6275788"/>
                <a:gd name="connsiteY6" fmla="*/ 839679 h 1119572"/>
                <a:gd name="connsiteX7" fmla="*/ 0 w 6275788"/>
                <a:gd name="connsiteY7" fmla="*/ 279893 h 1119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75788" h="1119572">
                  <a:moveTo>
                    <a:pt x="0" y="279893"/>
                  </a:moveTo>
                  <a:lnTo>
                    <a:pt x="5716002" y="279893"/>
                  </a:lnTo>
                  <a:lnTo>
                    <a:pt x="5716002" y="0"/>
                  </a:lnTo>
                  <a:lnTo>
                    <a:pt x="6275788" y="559786"/>
                  </a:lnTo>
                  <a:lnTo>
                    <a:pt x="5716002" y="1119572"/>
                  </a:lnTo>
                  <a:lnTo>
                    <a:pt x="5716002" y="839679"/>
                  </a:lnTo>
                  <a:lnTo>
                    <a:pt x="0" y="839679"/>
                  </a:lnTo>
                  <a:lnTo>
                    <a:pt x="0" y="2798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1920" tIns="401813" rIns="533893" bIns="457625" numCol="1" spcCol="1270" anchor="ctr" anchorCtr="0">
              <a:noAutofit/>
            </a:bodyPr>
            <a:lstStyle/>
            <a:p>
              <a:pPr lvl="0" algn="l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3200" kern="1200" dirty="0"/>
                <a:t>2. Review</a:t>
              </a:r>
            </a:p>
          </p:txBody>
        </p:sp>
        <p:sp>
          <p:nvSpPr>
            <p:cNvPr id="9" name="Freeform 8"/>
            <p:cNvSpPr/>
            <p:nvPr/>
          </p:nvSpPr>
          <p:spPr>
            <a:xfrm>
              <a:off x="3669443" y="2892941"/>
              <a:ext cx="1430102" cy="2280558"/>
            </a:xfrm>
            <a:custGeom>
              <a:avLst/>
              <a:gdLst>
                <a:gd name="connsiteX0" fmla="*/ 0 w 1422830"/>
                <a:gd name="connsiteY0" fmla="*/ 0 h 2055714"/>
                <a:gd name="connsiteX1" fmla="*/ 1422830 w 1422830"/>
                <a:gd name="connsiteY1" fmla="*/ 0 h 2055714"/>
                <a:gd name="connsiteX2" fmla="*/ 1422830 w 1422830"/>
                <a:gd name="connsiteY2" fmla="*/ 2055714 h 2055714"/>
                <a:gd name="connsiteX3" fmla="*/ 0 w 1422830"/>
                <a:gd name="connsiteY3" fmla="*/ 2055714 h 2055714"/>
                <a:gd name="connsiteX4" fmla="*/ 0 w 1422830"/>
                <a:gd name="connsiteY4" fmla="*/ 0 h 2055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2830" h="2055714">
                  <a:moveTo>
                    <a:pt x="0" y="0"/>
                  </a:moveTo>
                  <a:lnTo>
                    <a:pt x="1422830" y="0"/>
                  </a:lnTo>
                  <a:lnTo>
                    <a:pt x="1422830" y="2055714"/>
                  </a:lnTo>
                  <a:lnTo>
                    <a:pt x="0" y="2055714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8580" tIns="68580" rIns="68580" bIns="68580" numCol="1" spcCol="1270" anchor="t" anchorCtr="0">
              <a:noAutofit/>
            </a:bodyPr>
            <a:lstStyle/>
            <a:p>
              <a:pPr marL="165100" lvl="0" indent="-16510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sz="1800" kern="1200" dirty="0"/>
                <a:t>All paper tools containing tester information examination data</a:t>
              </a:r>
            </a:p>
          </p:txBody>
        </p:sp>
        <p:sp>
          <p:nvSpPr>
            <p:cNvPr id="10" name="Freeform 9"/>
            <p:cNvSpPr/>
            <p:nvPr/>
          </p:nvSpPr>
          <p:spPr>
            <a:xfrm>
              <a:off x="5092120" y="2404370"/>
              <a:ext cx="4853112" cy="1119572"/>
            </a:xfrm>
            <a:custGeom>
              <a:avLst/>
              <a:gdLst>
                <a:gd name="connsiteX0" fmla="*/ 0 w 4853112"/>
                <a:gd name="connsiteY0" fmla="*/ 279893 h 1119572"/>
                <a:gd name="connsiteX1" fmla="*/ 4293326 w 4853112"/>
                <a:gd name="connsiteY1" fmla="*/ 279893 h 1119572"/>
                <a:gd name="connsiteX2" fmla="*/ 4293326 w 4853112"/>
                <a:gd name="connsiteY2" fmla="*/ 0 h 1119572"/>
                <a:gd name="connsiteX3" fmla="*/ 4853112 w 4853112"/>
                <a:gd name="connsiteY3" fmla="*/ 559786 h 1119572"/>
                <a:gd name="connsiteX4" fmla="*/ 4293326 w 4853112"/>
                <a:gd name="connsiteY4" fmla="*/ 1119572 h 1119572"/>
                <a:gd name="connsiteX5" fmla="*/ 4293326 w 4853112"/>
                <a:gd name="connsiteY5" fmla="*/ 839679 h 1119572"/>
                <a:gd name="connsiteX6" fmla="*/ 0 w 4853112"/>
                <a:gd name="connsiteY6" fmla="*/ 839679 h 1119572"/>
                <a:gd name="connsiteX7" fmla="*/ 0 w 4853112"/>
                <a:gd name="connsiteY7" fmla="*/ 279893 h 1119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53112" h="1119572">
                  <a:moveTo>
                    <a:pt x="0" y="279893"/>
                  </a:moveTo>
                  <a:lnTo>
                    <a:pt x="4293326" y="279893"/>
                  </a:lnTo>
                  <a:lnTo>
                    <a:pt x="4293326" y="0"/>
                  </a:lnTo>
                  <a:lnTo>
                    <a:pt x="4853112" y="559786"/>
                  </a:lnTo>
                  <a:lnTo>
                    <a:pt x="4293326" y="1119572"/>
                  </a:lnTo>
                  <a:lnTo>
                    <a:pt x="4293326" y="839679"/>
                  </a:lnTo>
                  <a:lnTo>
                    <a:pt x="0" y="839679"/>
                  </a:lnTo>
                  <a:lnTo>
                    <a:pt x="0" y="2798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1920" tIns="401813" rIns="533893" bIns="457625" numCol="1" spcCol="1270" anchor="ctr" anchorCtr="0">
              <a:noAutofit/>
            </a:bodyPr>
            <a:lstStyle/>
            <a:p>
              <a:pPr lvl="0" algn="l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3200" kern="1200" dirty="0"/>
                <a:t>3. Transport</a:t>
              </a:r>
            </a:p>
          </p:txBody>
        </p:sp>
        <p:sp>
          <p:nvSpPr>
            <p:cNvPr id="11" name="Freeform 10"/>
            <p:cNvSpPr/>
            <p:nvPr/>
          </p:nvSpPr>
          <p:spPr>
            <a:xfrm>
              <a:off x="5092120" y="3266276"/>
              <a:ext cx="1430102" cy="2250523"/>
            </a:xfrm>
            <a:custGeom>
              <a:avLst/>
              <a:gdLst>
                <a:gd name="connsiteX0" fmla="*/ 0 w 1422830"/>
                <a:gd name="connsiteY0" fmla="*/ 0 h 2055714"/>
                <a:gd name="connsiteX1" fmla="*/ 1422830 w 1422830"/>
                <a:gd name="connsiteY1" fmla="*/ 0 h 2055714"/>
                <a:gd name="connsiteX2" fmla="*/ 1422830 w 1422830"/>
                <a:gd name="connsiteY2" fmla="*/ 2055714 h 2055714"/>
                <a:gd name="connsiteX3" fmla="*/ 0 w 1422830"/>
                <a:gd name="connsiteY3" fmla="*/ 2055714 h 2055714"/>
                <a:gd name="connsiteX4" fmla="*/ 0 w 1422830"/>
                <a:gd name="connsiteY4" fmla="*/ 0 h 2055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2830" h="2055714">
                  <a:moveTo>
                    <a:pt x="0" y="0"/>
                  </a:moveTo>
                  <a:lnTo>
                    <a:pt x="1422830" y="0"/>
                  </a:lnTo>
                  <a:lnTo>
                    <a:pt x="1422830" y="2055714"/>
                  </a:lnTo>
                  <a:lnTo>
                    <a:pt x="0" y="2055714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8580" tIns="68580" rIns="68580" bIns="68580" numCol="1" spcCol="1270" anchor="t" anchorCtr="0">
              <a:noAutofit/>
            </a:bodyPr>
            <a:lstStyle/>
            <a:p>
              <a:pPr marL="165100" lvl="0" indent="-16510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sz="1800" kern="1200" dirty="0"/>
                <a:t>Written examination questions + answer key</a:t>
              </a:r>
            </a:p>
            <a:p>
              <a:pPr marL="165100" lvl="0" indent="-16510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sz="1800" kern="1200" dirty="0"/>
                <a:t>All paper tools containing tester information examination data</a:t>
              </a:r>
            </a:p>
          </p:txBody>
        </p:sp>
        <p:sp>
          <p:nvSpPr>
            <p:cNvPr id="12" name="Freeform 11"/>
            <p:cNvSpPr/>
            <p:nvPr/>
          </p:nvSpPr>
          <p:spPr>
            <a:xfrm>
              <a:off x="6515566" y="2777705"/>
              <a:ext cx="3429665" cy="1119572"/>
            </a:xfrm>
            <a:custGeom>
              <a:avLst/>
              <a:gdLst>
                <a:gd name="connsiteX0" fmla="*/ 0 w 3429665"/>
                <a:gd name="connsiteY0" fmla="*/ 279893 h 1119572"/>
                <a:gd name="connsiteX1" fmla="*/ 2869879 w 3429665"/>
                <a:gd name="connsiteY1" fmla="*/ 279893 h 1119572"/>
                <a:gd name="connsiteX2" fmla="*/ 2869879 w 3429665"/>
                <a:gd name="connsiteY2" fmla="*/ 0 h 1119572"/>
                <a:gd name="connsiteX3" fmla="*/ 3429665 w 3429665"/>
                <a:gd name="connsiteY3" fmla="*/ 559786 h 1119572"/>
                <a:gd name="connsiteX4" fmla="*/ 2869879 w 3429665"/>
                <a:gd name="connsiteY4" fmla="*/ 1119572 h 1119572"/>
                <a:gd name="connsiteX5" fmla="*/ 2869879 w 3429665"/>
                <a:gd name="connsiteY5" fmla="*/ 839679 h 1119572"/>
                <a:gd name="connsiteX6" fmla="*/ 0 w 3429665"/>
                <a:gd name="connsiteY6" fmla="*/ 839679 h 1119572"/>
                <a:gd name="connsiteX7" fmla="*/ 0 w 3429665"/>
                <a:gd name="connsiteY7" fmla="*/ 279893 h 1119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29665" h="1119572">
                  <a:moveTo>
                    <a:pt x="0" y="279893"/>
                  </a:moveTo>
                  <a:lnTo>
                    <a:pt x="2869879" y="279893"/>
                  </a:lnTo>
                  <a:lnTo>
                    <a:pt x="2869879" y="0"/>
                  </a:lnTo>
                  <a:lnTo>
                    <a:pt x="3429665" y="559786"/>
                  </a:lnTo>
                  <a:lnTo>
                    <a:pt x="2869879" y="1119572"/>
                  </a:lnTo>
                  <a:lnTo>
                    <a:pt x="2869879" y="839679"/>
                  </a:lnTo>
                  <a:lnTo>
                    <a:pt x="0" y="839679"/>
                  </a:lnTo>
                  <a:lnTo>
                    <a:pt x="0" y="2798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1920" tIns="401813" rIns="533893" bIns="457625" numCol="1" spcCol="1270" anchor="ctr" anchorCtr="0">
              <a:noAutofit/>
            </a:bodyPr>
            <a:lstStyle/>
            <a:p>
              <a:pPr lvl="0" algn="l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3200" kern="1200" dirty="0"/>
                <a:t>4</a:t>
              </a:r>
              <a:r>
                <a:rPr lang="en-US" sz="3200" kern="1200"/>
                <a:t>. Check</a:t>
              </a:r>
              <a:endParaRPr lang="en-US" sz="3200" kern="1200" dirty="0"/>
            </a:p>
          </p:txBody>
        </p:sp>
        <p:sp>
          <p:nvSpPr>
            <p:cNvPr id="13" name="Freeform 12"/>
            <p:cNvSpPr/>
            <p:nvPr/>
          </p:nvSpPr>
          <p:spPr>
            <a:xfrm>
              <a:off x="6515566" y="3639612"/>
              <a:ext cx="1430102" cy="2365475"/>
            </a:xfrm>
            <a:custGeom>
              <a:avLst/>
              <a:gdLst>
                <a:gd name="connsiteX0" fmla="*/ 0 w 1422830"/>
                <a:gd name="connsiteY0" fmla="*/ 0 h 2055714"/>
                <a:gd name="connsiteX1" fmla="*/ 1422830 w 1422830"/>
                <a:gd name="connsiteY1" fmla="*/ 0 h 2055714"/>
                <a:gd name="connsiteX2" fmla="*/ 1422830 w 1422830"/>
                <a:gd name="connsiteY2" fmla="*/ 2055714 h 2055714"/>
                <a:gd name="connsiteX3" fmla="*/ 0 w 1422830"/>
                <a:gd name="connsiteY3" fmla="*/ 2055714 h 2055714"/>
                <a:gd name="connsiteX4" fmla="*/ 0 w 1422830"/>
                <a:gd name="connsiteY4" fmla="*/ 0 h 2055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2830" h="2055714">
                  <a:moveTo>
                    <a:pt x="0" y="0"/>
                  </a:moveTo>
                  <a:lnTo>
                    <a:pt x="1422830" y="0"/>
                  </a:lnTo>
                  <a:lnTo>
                    <a:pt x="1422830" y="2055714"/>
                  </a:lnTo>
                  <a:lnTo>
                    <a:pt x="0" y="2055714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0960" tIns="60960" rIns="60960" bIns="60960" numCol="1" spcCol="1270" anchor="t" anchorCtr="0">
              <a:noAutofit/>
            </a:bodyPr>
            <a:lstStyle/>
            <a:p>
              <a:pPr marL="120650" lvl="0" indent="-1206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kern="1200" dirty="0"/>
                <a:t>All paper tools containing tester information examination data</a:t>
              </a:r>
            </a:p>
            <a:p>
              <a:pPr marL="120650" lvl="0" indent="-1206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endParaRPr lang="en-US" kern="1200" dirty="0"/>
            </a:p>
            <a:p>
              <a:pPr marL="120650" lvl="0" indent="-1206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kern="1200" dirty="0"/>
                <a:t>Completeness and accuracy</a:t>
              </a:r>
            </a:p>
          </p:txBody>
        </p:sp>
        <p:sp>
          <p:nvSpPr>
            <p:cNvPr id="14" name="Freeform 13"/>
            <p:cNvSpPr/>
            <p:nvPr/>
          </p:nvSpPr>
          <p:spPr>
            <a:xfrm>
              <a:off x="7938242" y="3151040"/>
              <a:ext cx="2006989" cy="1119572"/>
            </a:xfrm>
            <a:custGeom>
              <a:avLst/>
              <a:gdLst>
                <a:gd name="connsiteX0" fmla="*/ 0 w 2006989"/>
                <a:gd name="connsiteY0" fmla="*/ 279893 h 1119572"/>
                <a:gd name="connsiteX1" fmla="*/ 1447203 w 2006989"/>
                <a:gd name="connsiteY1" fmla="*/ 279893 h 1119572"/>
                <a:gd name="connsiteX2" fmla="*/ 1447203 w 2006989"/>
                <a:gd name="connsiteY2" fmla="*/ 0 h 1119572"/>
                <a:gd name="connsiteX3" fmla="*/ 2006989 w 2006989"/>
                <a:gd name="connsiteY3" fmla="*/ 559786 h 1119572"/>
                <a:gd name="connsiteX4" fmla="*/ 1447203 w 2006989"/>
                <a:gd name="connsiteY4" fmla="*/ 1119572 h 1119572"/>
                <a:gd name="connsiteX5" fmla="*/ 1447203 w 2006989"/>
                <a:gd name="connsiteY5" fmla="*/ 839679 h 1119572"/>
                <a:gd name="connsiteX6" fmla="*/ 0 w 2006989"/>
                <a:gd name="connsiteY6" fmla="*/ 839679 h 1119572"/>
                <a:gd name="connsiteX7" fmla="*/ 0 w 2006989"/>
                <a:gd name="connsiteY7" fmla="*/ 279893 h 1119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06989" h="1119572">
                  <a:moveTo>
                    <a:pt x="0" y="279893"/>
                  </a:moveTo>
                  <a:lnTo>
                    <a:pt x="1447203" y="279893"/>
                  </a:lnTo>
                  <a:lnTo>
                    <a:pt x="1447203" y="0"/>
                  </a:lnTo>
                  <a:lnTo>
                    <a:pt x="2006989" y="559786"/>
                  </a:lnTo>
                  <a:lnTo>
                    <a:pt x="1447203" y="1119572"/>
                  </a:lnTo>
                  <a:lnTo>
                    <a:pt x="1447203" y="839679"/>
                  </a:lnTo>
                  <a:lnTo>
                    <a:pt x="0" y="839679"/>
                  </a:lnTo>
                  <a:lnTo>
                    <a:pt x="0" y="27989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1920" tIns="401813" rIns="533893" bIns="457625" numCol="1" spcCol="1270" anchor="ctr" anchorCtr="0">
              <a:noAutofit/>
            </a:bodyPr>
            <a:lstStyle/>
            <a:p>
              <a:pPr lvl="0" algn="l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3200" kern="1200" dirty="0"/>
                <a:t>5. Transfer</a:t>
              </a:r>
            </a:p>
          </p:txBody>
        </p:sp>
        <p:sp>
          <p:nvSpPr>
            <p:cNvPr id="15" name="Freeform 14"/>
            <p:cNvSpPr/>
            <p:nvPr/>
          </p:nvSpPr>
          <p:spPr>
            <a:xfrm>
              <a:off x="7938242" y="4012946"/>
              <a:ext cx="1430102" cy="2265510"/>
            </a:xfrm>
            <a:custGeom>
              <a:avLst/>
              <a:gdLst>
                <a:gd name="connsiteX0" fmla="*/ 0 w 1422830"/>
                <a:gd name="connsiteY0" fmla="*/ 0 h 2055714"/>
                <a:gd name="connsiteX1" fmla="*/ 1422830 w 1422830"/>
                <a:gd name="connsiteY1" fmla="*/ 0 h 2055714"/>
                <a:gd name="connsiteX2" fmla="*/ 1422830 w 1422830"/>
                <a:gd name="connsiteY2" fmla="*/ 2055714 h 2055714"/>
                <a:gd name="connsiteX3" fmla="*/ 0 w 1422830"/>
                <a:gd name="connsiteY3" fmla="*/ 2055714 h 2055714"/>
                <a:gd name="connsiteX4" fmla="*/ 0 w 1422830"/>
                <a:gd name="connsiteY4" fmla="*/ 0 h 2055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2830" h="2055714">
                  <a:moveTo>
                    <a:pt x="0" y="0"/>
                  </a:moveTo>
                  <a:lnTo>
                    <a:pt x="1422830" y="0"/>
                  </a:lnTo>
                  <a:lnTo>
                    <a:pt x="1422830" y="2055714"/>
                  </a:lnTo>
                  <a:lnTo>
                    <a:pt x="0" y="2055714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8580" tIns="68580" rIns="68580" bIns="68580" numCol="1" spcCol="1270" anchor="t" anchorCtr="0">
              <a:noAutofit/>
            </a:bodyPr>
            <a:lstStyle/>
            <a:p>
              <a:pPr marL="165100" lvl="0" indent="-16510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sz="1800" kern="1200" dirty="0"/>
                <a:t>At regional level: Transfer Into database all paper based data collected</a:t>
              </a:r>
            </a:p>
            <a:p>
              <a:pPr lvl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kern="1200" dirty="0"/>
                <a:t> </a:t>
              </a:r>
            </a:p>
            <a:p>
              <a:pPr marL="165100" lvl="0" indent="-16510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sz="1800" kern="1200" dirty="0"/>
                <a:t>To Council: Transfer all electronic data captured every month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340066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el Certification Data Management Too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55230"/>
            <a:ext cx="10972800" cy="5130383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Designed to manage certification data for documentation, monitoring and evaluation purpose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User</a:t>
            </a:r>
          </a:p>
          <a:p>
            <a:pPr lvl="1"/>
            <a:r>
              <a:rPr lang="en-US" dirty="0"/>
              <a:t>Regional: Evaluator, data clerk</a:t>
            </a:r>
          </a:p>
          <a:p>
            <a:pPr lvl="1"/>
            <a:r>
              <a:rPr lang="en-US" dirty="0"/>
              <a:t>National (MOH, Certification Body): Registrar, data clerk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dirty="0"/>
              <a:t>Contains four worksheets</a:t>
            </a:r>
          </a:p>
          <a:p>
            <a:pPr lvl="1"/>
            <a:r>
              <a:rPr lang="en-US" dirty="0"/>
              <a:t>Instructions </a:t>
            </a:r>
          </a:p>
          <a:p>
            <a:pPr lvl="1"/>
            <a:r>
              <a:rPr lang="en-US" dirty="0"/>
              <a:t>Tester Demographic information</a:t>
            </a:r>
          </a:p>
          <a:p>
            <a:pPr lvl="1"/>
            <a:r>
              <a:rPr lang="en-US" dirty="0"/>
              <a:t>Tester Training information</a:t>
            </a:r>
          </a:p>
          <a:p>
            <a:pPr lvl="1"/>
            <a:r>
              <a:rPr lang="en-US" dirty="0"/>
              <a:t>Tester Certification information</a:t>
            </a:r>
          </a:p>
          <a:p>
            <a:pPr marL="457200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90862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 1. Instructions </a:t>
            </a:r>
          </a:p>
        </p:txBody>
      </p:sp>
      <p:pic>
        <p:nvPicPr>
          <p:cNvPr id="11" name="Picture 10" descr="Application, table&#10;&#10;Description automatically generated">
            <a:extLst>
              <a:ext uri="{FF2B5EF4-FFF2-40B4-BE49-F238E27FC236}">
                <a16:creationId xmlns:a16="http://schemas.microsoft.com/office/drawing/2014/main" id="{0BE9C305-AB25-4837-BBC4-A4F6B742934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9829" y="1424562"/>
            <a:ext cx="7796544" cy="5389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52511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 2. Tester Demographic Information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26111" r="39365" b="3598"/>
          <a:stretch/>
        </p:blipFill>
        <p:spPr>
          <a:xfrm>
            <a:off x="1580606" y="1478462"/>
            <a:ext cx="8699863" cy="5376303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9910591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 2. Tester Demographic Information</a:t>
            </a:r>
          </a:p>
        </p:txBody>
      </p:sp>
      <p:pic>
        <p:nvPicPr>
          <p:cNvPr id="9" name="Picture 8" descr="Graphical user interface, application, table&#10;&#10;Description automatically generated">
            <a:extLst>
              <a:ext uri="{FF2B5EF4-FFF2-40B4-BE49-F238E27FC236}">
                <a16:creationId xmlns:a16="http://schemas.microsoft.com/office/drawing/2014/main" id="{C56059D9-8FDB-412B-B12F-D949D4580F9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83098"/>
            <a:ext cx="12180743" cy="465238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5EBAE65C-6829-418A-BA79-D59DF7A215AB}"/>
              </a:ext>
            </a:extLst>
          </p:cNvPr>
          <p:cNvSpPr/>
          <p:nvPr/>
        </p:nvSpPr>
        <p:spPr>
          <a:xfrm>
            <a:off x="11257" y="1417638"/>
            <a:ext cx="3348392" cy="4652387"/>
          </a:xfrm>
          <a:prstGeom prst="rect">
            <a:avLst/>
          </a:prstGeom>
          <a:noFill/>
          <a:ln w="412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9A12E09-8FF7-4F42-8BE2-03B2B2D6F053}"/>
              </a:ext>
            </a:extLst>
          </p:cNvPr>
          <p:cNvSpPr/>
          <p:nvPr/>
        </p:nvSpPr>
        <p:spPr>
          <a:xfrm>
            <a:off x="3124200" y="1421767"/>
            <a:ext cx="5054600" cy="4652387"/>
          </a:xfrm>
          <a:prstGeom prst="rect">
            <a:avLst/>
          </a:prstGeom>
          <a:noFill/>
          <a:ln w="412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EA9F0C3-AE7E-4DD0-9C81-F71181C687AF}"/>
              </a:ext>
            </a:extLst>
          </p:cNvPr>
          <p:cNvSpPr/>
          <p:nvPr/>
        </p:nvSpPr>
        <p:spPr>
          <a:xfrm>
            <a:off x="9004299" y="1417638"/>
            <a:ext cx="3169149" cy="4652387"/>
          </a:xfrm>
          <a:prstGeom prst="rect">
            <a:avLst/>
          </a:prstGeom>
          <a:noFill/>
          <a:ln w="412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5E9C280-8041-48B4-878E-6D6BB7E05B19}"/>
              </a:ext>
            </a:extLst>
          </p:cNvPr>
          <p:cNvSpPr/>
          <p:nvPr/>
        </p:nvSpPr>
        <p:spPr>
          <a:xfrm>
            <a:off x="7988300" y="1430338"/>
            <a:ext cx="1181100" cy="4652387"/>
          </a:xfrm>
          <a:prstGeom prst="rect">
            <a:avLst/>
          </a:prstGeom>
          <a:noFill/>
          <a:ln w="412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93965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  <p:bldP spid="6" grpId="0" animBg="1"/>
      <p:bldP spid="6" grpId="1" animBg="1"/>
      <p:bldP spid="7" grpId="0" animBg="1"/>
      <p:bldP spid="7" grpId="1" animBg="1"/>
      <p:bldP spid="8" grpId="0" animBg="1"/>
      <p:bldP spid="8" grpId="1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2</TotalTime>
  <Words>508</Words>
  <Application>Microsoft Office PowerPoint</Application>
  <PresentationFormat>Widescreen</PresentationFormat>
  <Paragraphs>123</Paragraphs>
  <Slides>13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Calibri</vt:lpstr>
      <vt:lpstr>Garamond</vt:lpstr>
      <vt:lpstr>Verdana</vt:lpstr>
      <vt:lpstr>1_Office Theme</vt:lpstr>
      <vt:lpstr>think-cell Folie</vt:lpstr>
      <vt:lpstr>Managing HIV Tester Certification Data</vt:lpstr>
      <vt:lpstr>Learning Objectives</vt:lpstr>
      <vt:lpstr>Type of Certification Data </vt:lpstr>
      <vt:lpstr>Key Data Management Areas</vt:lpstr>
      <vt:lpstr>Managing the Certification Data</vt:lpstr>
      <vt:lpstr>Excel Certification Data Management Tool</vt:lpstr>
      <vt:lpstr>Tab 1. Instructions </vt:lpstr>
      <vt:lpstr>Tab 2. Tester Demographic Information</vt:lpstr>
      <vt:lpstr>Tab 2. Tester Demographic Information</vt:lpstr>
      <vt:lpstr>Tab 3. Tester Training Information </vt:lpstr>
      <vt:lpstr>Tab 4. Tester Competency Assessment and Certification Information</vt:lpstr>
      <vt:lpstr>Tab 5. Drop Down List</vt:lpstr>
      <vt:lpstr>Summary</vt:lpstr>
    </vt:vector>
  </TitlesOfParts>
  <Company>Centers for Disease Control and Preven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naging Tester Certification Database</dc:title>
  <dc:creator>Kalou, Mireille B. (CDC/CGH/DGHT)</dc:creator>
  <cp:lastModifiedBy>Jackson, Keisha G. (CDC/DDPHSIS/CGH/OD)</cp:lastModifiedBy>
  <cp:revision>10</cp:revision>
  <dcterms:created xsi:type="dcterms:W3CDTF">2017-05-02T22:01:59Z</dcterms:created>
  <dcterms:modified xsi:type="dcterms:W3CDTF">2022-12-23T16:21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b94a7b8-f06c-4dfe-bdcc-9b548fd58c31_Enabled">
    <vt:lpwstr>true</vt:lpwstr>
  </property>
  <property fmtid="{D5CDD505-2E9C-101B-9397-08002B2CF9AE}" pid="3" name="MSIP_Label_7b94a7b8-f06c-4dfe-bdcc-9b548fd58c31_SetDate">
    <vt:lpwstr>2022-12-23T16:21:05Z</vt:lpwstr>
  </property>
  <property fmtid="{D5CDD505-2E9C-101B-9397-08002B2CF9AE}" pid="4" name="MSIP_Label_7b94a7b8-f06c-4dfe-bdcc-9b548fd58c31_Method">
    <vt:lpwstr>Privileged</vt:lpwstr>
  </property>
  <property fmtid="{D5CDD505-2E9C-101B-9397-08002B2CF9AE}" pid="5" name="MSIP_Label_7b94a7b8-f06c-4dfe-bdcc-9b548fd58c31_Name">
    <vt:lpwstr>7b94a7b8-f06c-4dfe-bdcc-9b548fd58c31</vt:lpwstr>
  </property>
  <property fmtid="{D5CDD505-2E9C-101B-9397-08002B2CF9AE}" pid="6" name="MSIP_Label_7b94a7b8-f06c-4dfe-bdcc-9b548fd58c31_SiteId">
    <vt:lpwstr>9ce70869-60db-44fd-abe8-d2767077fc8f</vt:lpwstr>
  </property>
  <property fmtid="{D5CDD505-2E9C-101B-9397-08002B2CF9AE}" pid="7" name="MSIP_Label_7b94a7b8-f06c-4dfe-bdcc-9b548fd58c31_ActionId">
    <vt:lpwstr>7de65296-1ffa-4001-a603-41acffb6e428</vt:lpwstr>
  </property>
  <property fmtid="{D5CDD505-2E9C-101B-9397-08002B2CF9AE}" pid="8" name="MSIP_Label_7b94a7b8-f06c-4dfe-bdcc-9b548fd58c31_ContentBits">
    <vt:lpwstr>0</vt:lpwstr>
  </property>
</Properties>
</file>